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993" r:id="rId5"/>
    <p:sldMasterId id="2147484043" r:id="rId6"/>
    <p:sldMasterId id="2147484054" r:id="rId7"/>
    <p:sldMasterId id="2147484070" r:id="rId8"/>
    <p:sldMasterId id="2147484082" r:id="rId9"/>
  </p:sldMasterIdLst>
  <p:notesMasterIdLst>
    <p:notesMasterId r:id="rId57"/>
  </p:notesMasterIdLst>
  <p:sldIdLst>
    <p:sldId id="256" r:id="rId10"/>
    <p:sldId id="2147483513" r:id="rId11"/>
    <p:sldId id="276" r:id="rId12"/>
    <p:sldId id="2147481238" r:id="rId13"/>
    <p:sldId id="2147481286" r:id="rId14"/>
    <p:sldId id="2147483522" r:id="rId15"/>
    <p:sldId id="2147483523" r:id="rId16"/>
    <p:sldId id="2147483524" r:id="rId17"/>
    <p:sldId id="2147481538" r:id="rId18"/>
    <p:sldId id="2147481539" r:id="rId19"/>
    <p:sldId id="2147481540" r:id="rId20"/>
    <p:sldId id="2147483543" r:id="rId21"/>
    <p:sldId id="3351" r:id="rId22"/>
    <p:sldId id="3431" r:id="rId23"/>
    <p:sldId id="2147483542" r:id="rId24"/>
    <p:sldId id="261" r:id="rId25"/>
    <p:sldId id="262" r:id="rId26"/>
    <p:sldId id="265" r:id="rId27"/>
    <p:sldId id="266" r:id="rId28"/>
    <p:sldId id="270" r:id="rId29"/>
    <p:sldId id="2147483478" r:id="rId30"/>
    <p:sldId id="2147483527" r:id="rId31"/>
    <p:sldId id="2147483539" r:id="rId32"/>
    <p:sldId id="2147483540" r:id="rId33"/>
    <p:sldId id="2147483534" r:id="rId34"/>
    <p:sldId id="2147481526" r:id="rId35"/>
    <p:sldId id="2147483535" r:id="rId36"/>
    <p:sldId id="258" r:id="rId37"/>
    <p:sldId id="2147483536" r:id="rId38"/>
    <p:sldId id="2147483525" r:id="rId39"/>
    <p:sldId id="280" r:id="rId40"/>
    <p:sldId id="289" r:id="rId41"/>
    <p:sldId id="264" r:id="rId42"/>
    <p:sldId id="273" r:id="rId43"/>
    <p:sldId id="257" r:id="rId44"/>
    <p:sldId id="2147483518" r:id="rId45"/>
    <p:sldId id="271" r:id="rId46"/>
    <p:sldId id="279" r:id="rId47"/>
    <p:sldId id="2147483511" r:id="rId48"/>
    <p:sldId id="267" r:id="rId49"/>
    <p:sldId id="2147483497" r:id="rId50"/>
    <p:sldId id="2147483498" r:id="rId51"/>
    <p:sldId id="2147483521" r:id="rId52"/>
    <p:sldId id="2147483500" r:id="rId53"/>
    <p:sldId id="2147481531" r:id="rId54"/>
    <p:sldId id="2147481244" r:id="rId55"/>
    <p:sldId id="2147483486" r:id="rId56"/>
  </p:sldIdLst>
  <p:sldSz cx="12192000" cy="6858000"/>
  <p:notesSz cx="7023100" cy="93091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C45310D-103A-C38E-CE73-98EB707DF029}" name="Fritz, Samuel B. (ANF)" initials="" userId="S::Samuel.B.Fritz@mass.gov::0242f317-a9c7-40e6-a6e6-ebbdcde2729e" providerId="AD"/>
  <p188:author id="{3D04CF19-AC54-76AE-AE61-8DF9EA8EBB23}" name="Krevat, Derek (DOT)" initials="" userId="S::Derek.Krevat@dot.state.ma.us::66a34c06-e09c-4490-ae2d-9dc29eb4126b" providerId="AD"/>
  <p188:author id="{3CD06C1D-5D6D-0472-D810-473C14D02249}" name="Leonarte Paredes, Micaela (A&amp;F)" initials="" userId="S::Micaela.LeonarteParedes@mass.gov::9dd405bc-2413-4d02-bb30-9534b8884de8" providerId="AD"/>
  <p188:author id="{31AF9229-7526-E3F3-C778-732880ACED27}" name="Groustra, Ben (A&amp;F)" initials="G(" userId="S::ben.groustra@mass.gov::93c7cb06-fbde-4e9d-91a2-8dc2b77985d2" providerId="AD"/>
  <p188:author id="{3CB4B92D-0F62-D102-04B8-E54BD6F9742D}" name="Aggarwal, Pragun" initials="AP" userId="S::pragun_aggarwal@hks.harvard.edu::d17f6441-8b0a-45af-b7d1-a84c3adc9f6d" providerId="AD"/>
  <p188:author id="{82211E40-2100-E4DA-2CB3-D23B2F7B289F}" name="Strain, Mallory (A&amp;F)" initials="S(" userId="S::mallory.strain@mass.gov::7f2f9c2c-98ee-44e6-afe8-8ea6a9111392" providerId="AD"/>
  <p188:author id="{BBE3C455-D72E-693F-EA90-7BFD500C4AAB}" name="Eynatian, Amy (GOV)" initials="EA" userId="S::amy.eynatian@mass.gov::fc93f6e2-70b1-42a6-a830-05a1d5b7bda0" providerId="AD"/>
  <p188:author id="{BDD5D365-E27C-FDFC-CB05-1A816150EECC}" name="Shim, Bran" initials="SB" userId="S::branshim@hks.harvard.edu::9f47106e-5dd4-4556-a313-7df4dfbbd886" providerId="AD"/>
  <p188:author id="{7F5F6D71-F7AA-90A2-B567-5D2417BF3D77}" name="Jauhar, Mehar (A&amp;F)" initials="JM" userId="S::mehar.jauhar@mass.gov::6b184fc0-f80d-46ab-a4ba-4a5755ad07a6" providerId="AD"/>
  <p188:author id="{3830AA89-7192-CE43-C124-A5DF848E6D3E}" name="Martin, Grace" initials="GM" userId="S::gracemartin@hks.harvard.edu::72351cea-41f8-4762-86f4-19e58f629fce" providerId="AD"/>
  <p188:author id="{9DD590AF-D77F-DF04-A9DF-ADAF05034B24}" name="Strain, Mallory (A&amp;F)" initials="MS" userId="S::Mallory.Strain@mass.gov::7f2f9c2c-98ee-44e6-afe8-8ea6a9111392" providerId="AD"/>
  <p188:author id="{6FD793B5-7AB6-D932-9082-DFCC3A7B966E}" name="Leonarte Paredes, Micaela (A&amp;F)" initials="L(" userId="S::micaela.leonarteparedes@mass.gov::9dd405bc-2413-4d02-bb30-9534b8884de8" providerId="AD"/>
  <p188:author id="{6D2E8CCE-0F6D-799C-B695-F7F81E3984A1}" name="Silalahi, Nathania" initials="SN" userId="S::nathania_silalahi@hks.harvard.edu::44c0052f-2c1f-4c11-8fa3-ef0aa4c7ce8e" providerId="AD"/>
  <p188:author id="{BF9473CF-C86E-5964-FF22-5A02877A5513}" name="Ben Groustra" initials="BG" userId="S::Ben.Groustra@mass.gov::93c7cb06-fbde-4e9d-91a2-8dc2b77985d2" providerId="AD"/>
  <p188:author id="{51A36AD0-C9C7-A60A-B190-66937E27C47A}" name="Fritz, Samuel B. (ANF)" initials="F(" userId="S::samuel.b.fritz@mass.gov::0242f317-a9c7-40e6-a6e6-ebbdcde2729e" providerId="AD"/>
  <p188:author id="{FFA027D5-5C5D-CA49-E4AD-C8603A2DF3FC}" name="LaRocca, Robert E. (A&amp;F)" initials="" userId="S::Robert.E.LaRocca@mass.gov::ceee8bfd-19b9-4b75-a601-a6435830a151" providerId="AD"/>
  <p188:author id="{8C23C4E1-5A5B-B24F-9C4F-9EC9608C1A99}" name="Jauhar, Mehar (A&amp;F)" initials="" userId="S::Mehar.Jauhar@mass.gov::6b184fc0-f80d-46ab-a4ba-4a5755ad07a6" providerId="AD"/>
  <p188:author id="{34B14DF6-F737-30E6-0A2A-A30C85CE4E22}" name="LaRocca, Robert E. (A&amp;F)" initials="L(" userId="S::robert.e.larocca@mass.gov::ceee8bfd-19b9-4b75-a601-a6435830a151" providerId="AD"/>
  <p188:author id="{7B3844F7-7C9B-8860-3263-73F8DC1D4507}" name="mehar jauhar" initials="mj" userId="70c90a97f9be067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ADE4"/>
    <a:srgbClr val="0055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3F5B54-1F25-458D-8FB8-AEF04CD9C747}" v="11" dt="2025-06-06T17:18:10.579"/>
  </p1510:revLst>
</p1510:revInfo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7"/>
    <p:restoredTop sz="94668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63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tableStyles" Target="tableStyles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microsoft.com/office/2018/10/relationships/authors" Target="author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2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viewProps" Target="viewProps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rain, Mallory (A&amp;F)" userId="S::mallory.strain@mass.gov::7f2f9c2c-98ee-44e6-afe8-8ea6a9111392" providerId="AD" clId="Web-{51C6AF3D-59A6-F672-68B9-BC55D11675C6}"/>
    <pc:docChg chg="delSld sldOrd">
      <pc:chgData name="Strain, Mallory (A&amp;F)" userId="S::mallory.strain@mass.gov::7f2f9c2c-98ee-44e6-afe8-8ea6a9111392" providerId="AD" clId="Web-{51C6AF3D-59A6-F672-68B9-BC55D11675C6}" dt="2025-02-10T19:02:52.722" v="6"/>
      <pc:docMkLst>
        <pc:docMk/>
      </pc:docMkLst>
      <pc:sldChg chg="ord">
        <pc:chgData name="Strain, Mallory (A&amp;F)" userId="S::mallory.strain@mass.gov::7f2f9c2c-98ee-44e6-afe8-8ea6a9111392" providerId="AD" clId="Web-{51C6AF3D-59A6-F672-68B9-BC55D11675C6}" dt="2025-02-10T16:13:52.822" v="2"/>
        <pc:sldMkLst>
          <pc:docMk/>
          <pc:sldMk cId="719758237" sldId="2147481542"/>
        </pc:sldMkLst>
      </pc:sldChg>
      <pc:sldChg chg="ord">
        <pc:chgData name="Strain, Mallory (A&amp;F)" userId="S::mallory.strain@mass.gov::7f2f9c2c-98ee-44e6-afe8-8ea6a9111392" providerId="AD" clId="Web-{51C6AF3D-59A6-F672-68B9-BC55D11675C6}" dt="2025-02-10T18:56:54.505" v="3"/>
        <pc:sldMkLst>
          <pc:docMk/>
          <pc:sldMk cId="3279986888" sldId="2147481543"/>
        </pc:sldMkLst>
      </pc:sldChg>
      <pc:sldChg chg="ord">
        <pc:chgData name="Strain, Mallory (A&amp;F)" userId="S::mallory.strain@mass.gov::7f2f9c2c-98ee-44e6-afe8-8ea6a9111392" providerId="AD" clId="Web-{51C6AF3D-59A6-F672-68B9-BC55D11675C6}" dt="2025-02-10T18:59:00.317" v="5"/>
        <pc:sldMkLst>
          <pc:docMk/>
          <pc:sldMk cId="1703071084" sldId="2147481544"/>
        </pc:sldMkLst>
      </pc:sldChg>
      <pc:sldChg chg="del">
        <pc:chgData name="Strain, Mallory (A&amp;F)" userId="S::mallory.strain@mass.gov::7f2f9c2c-98ee-44e6-afe8-8ea6a9111392" providerId="AD" clId="Web-{51C6AF3D-59A6-F672-68B9-BC55D11675C6}" dt="2025-02-10T19:02:52.722" v="6"/>
        <pc:sldMkLst>
          <pc:docMk/>
          <pc:sldMk cId="2353380868" sldId="2147483468"/>
        </pc:sldMkLst>
      </pc:sldChg>
    </pc:docChg>
  </pc:docChgLst>
  <pc:docChgLst>
    <pc:chgData name="Strain, Mallory (A&amp;F)" userId="S::mallory.strain@mass.gov::7f2f9c2c-98ee-44e6-afe8-8ea6a9111392" providerId="AD" clId="Web-{08EFEE83-350D-65F5-F014-619A07DF7C51}"/>
    <pc:docChg chg="addSld modSld">
      <pc:chgData name="Strain, Mallory (A&amp;F)" userId="S::mallory.strain@mass.gov::7f2f9c2c-98ee-44e6-afe8-8ea6a9111392" providerId="AD" clId="Web-{08EFEE83-350D-65F5-F014-619A07DF7C51}" dt="2025-03-04T16:27:59.527" v="4"/>
      <pc:docMkLst>
        <pc:docMk/>
      </pc:docMkLst>
      <pc:sldChg chg="modSp new">
        <pc:chgData name="Strain, Mallory (A&amp;F)" userId="S::mallory.strain@mass.gov::7f2f9c2c-98ee-44e6-afe8-8ea6a9111392" providerId="AD" clId="Web-{08EFEE83-350D-65F5-F014-619A07DF7C51}" dt="2025-03-04T16:27:56.793" v="3" actId="20577"/>
        <pc:sldMkLst>
          <pc:docMk/>
          <pc:sldMk cId="1751452576" sldId="2147483502"/>
        </pc:sldMkLst>
      </pc:sldChg>
      <pc:sldChg chg="new">
        <pc:chgData name="Strain, Mallory (A&amp;F)" userId="S::mallory.strain@mass.gov::7f2f9c2c-98ee-44e6-afe8-8ea6a9111392" providerId="AD" clId="Web-{08EFEE83-350D-65F5-F014-619A07DF7C51}" dt="2025-03-04T16:27:59.527" v="4"/>
        <pc:sldMkLst>
          <pc:docMk/>
          <pc:sldMk cId="2022370527" sldId="2147483503"/>
        </pc:sldMkLst>
      </pc:sldChg>
    </pc:docChg>
  </pc:docChgLst>
  <pc:docChgLst>
    <pc:chgData name="Leonarte Paredes, Micaela (A&amp;F)" userId="S::micaela.leonarteparedes@mass.gov::9dd405bc-2413-4d02-bb30-9534b8884de8" providerId="AD" clId="Web-{D98FAB92-228D-CC44-AF7D-DCA9D62AC91C}"/>
    <pc:docChg chg="modSld sldOrd">
      <pc:chgData name="Leonarte Paredes, Micaela (A&amp;F)" userId="S::micaela.leonarteparedes@mass.gov::9dd405bc-2413-4d02-bb30-9534b8884de8" providerId="AD" clId="Web-{D98FAB92-228D-CC44-AF7D-DCA9D62AC91C}" dt="2025-03-05T14:13:11.542" v="5"/>
      <pc:docMkLst>
        <pc:docMk/>
      </pc:docMkLst>
      <pc:sldChg chg="modSp">
        <pc:chgData name="Leonarte Paredes, Micaela (A&amp;F)" userId="S::micaela.leonarteparedes@mass.gov::9dd405bc-2413-4d02-bb30-9534b8884de8" providerId="AD" clId="Web-{D98FAB92-228D-CC44-AF7D-DCA9D62AC91C}" dt="2025-03-05T14:13:11.542" v="5"/>
        <pc:sldMkLst>
          <pc:docMk/>
          <pc:sldMk cId="3379675862" sldId="2147483477"/>
        </pc:sldMkLst>
      </pc:sldChg>
      <pc:sldChg chg="ord">
        <pc:chgData name="Leonarte Paredes, Micaela (A&amp;F)" userId="S::micaela.leonarteparedes@mass.gov::9dd405bc-2413-4d02-bb30-9534b8884de8" providerId="AD" clId="Web-{D98FAB92-228D-CC44-AF7D-DCA9D62AC91C}" dt="2025-03-05T14:11:19.199" v="2"/>
        <pc:sldMkLst>
          <pc:docMk/>
          <pc:sldMk cId="3830842327" sldId="2147483487"/>
        </pc:sldMkLst>
      </pc:sldChg>
      <pc:sldChg chg="modSp">
        <pc:chgData name="Leonarte Paredes, Micaela (A&amp;F)" userId="S::micaela.leonarteparedes@mass.gov::9dd405bc-2413-4d02-bb30-9534b8884de8" providerId="AD" clId="Web-{D98FAB92-228D-CC44-AF7D-DCA9D62AC91C}" dt="2025-03-05T14:10:02.934" v="1" actId="20577"/>
        <pc:sldMkLst>
          <pc:docMk/>
          <pc:sldMk cId="2318375095" sldId="2147483508"/>
        </pc:sldMkLst>
      </pc:sldChg>
    </pc:docChg>
  </pc:docChgLst>
  <pc:docChgLst>
    <pc:chgData name="Eynatian, Amy (GOV)" userId="S::amy.eynatian@mass.gov::fc93f6e2-70b1-42a6-a830-05a1d5b7bda0" providerId="AD" clId="Web-{D3F5FBC3-E60B-D008-DEFB-09902BE5B594}"/>
    <pc:docChg chg="mod modSld">
      <pc:chgData name="Eynatian, Amy (GOV)" userId="S::amy.eynatian@mass.gov::fc93f6e2-70b1-42a6-a830-05a1d5b7bda0" providerId="AD" clId="Web-{D3F5FBC3-E60B-D008-DEFB-09902BE5B594}" dt="2025-03-04T16:58:07.430" v="32"/>
      <pc:docMkLst>
        <pc:docMk/>
      </pc:docMkLst>
      <pc:sldChg chg="modSp modCm">
        <pc:chgData name="Eynatian, Amy (GOV)" userId="S::amy.eynatian@mass.gov::fc93f6e2-70b1-42a6-a830-05a1d5b7bda0" providerId="AD" clId="Web-{D3F5FBC3-E60B-D008-DEFB-09902BE5B594}" dt="2025-03-04T16:57:09.227" v="31"/>
        <pc:sldMkLst>
          <pc:docMk/>
          <pc:sldMk cId="1721034712" sldId="214748152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ynatian, Amy (GOV)" userId="S::amy.eynatian@mass.gov::fc93f6e2-70b1-42a6-a830-05a1d5b7bda0" providerId="AD" clId="Web-{D3F5FBC3-E60B-D008-DEFB-09902BE5B594}" dt="2025-03-04T16:57:09.211" v="30"/>
              <pc2:cmMkLst xmlns:pc2="http://schemas.microsoft.com/office/powerpoint/2019/9/main/command">
                <pc:docMk/>
                <pc:sldMk cId="1721034712" sldId="2147481527"/>
                <pc2:cmMk id="{0E59D12D-2B91-4083-8423-2793A9B1304D}"/>
              </pc2:cmMkLst>
            </pc226:cmChg>
          </p:ext>
        </pc:extLst>
      </pc:sldChg>
    </pc:docChg>
  </pc:docChgLst>
  <pc:docChgLst>
    <pc:chgData name="Strain, Mallory (A&amp;F)" userId="S::mallory.strain@mass.gov::7f2f9c2c-98ee-44e6-afe8-8ea6a9111392" providerId="AD" clId="Web-{BE9AF50B-4865-ED20-B213-093C7D2FAA55}"/>
    <pc:docChg chg="delSld modSld">
      <pc:chgData name="Strain, Mallory (A&amp;F)" userId="S::mallory.strain@mass.gov::7f2f9c2c-98ee-44e6-afe8-8ea6a9111392" providerId="AD" clId="Web-{BE9AF50B-4865-ED20-B213-093C7D2FAA55}" dt="2025-02-11T18:05:23.687" v="62"/>
      <pc:docMkLst>
        <pc:docMk/>
      </pc:docMkLst>
      <pc:sldChg chg="modSp modCm">
        <pc:chgData name="Strain, Mallory (A&amp;F)" userId="S::mallory.strain@mass.gov::7f2f9c2c-98ee-44e6-afe8-8ea6a9111392" providerId="AD" clId="Web-{BE9AF50B-4865-ED20-B213-093C7D2FAA55}" dt="2025-02-10T21:05:39.405" v="58" actId="20577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BE9AF50B-4865-ED20-B213-093C7D2FAA55}" dt="2025-02-10T21:05:38.092" v="57" actId="20577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</pc226:cmChg>
          </p:ext>
        </pc:extLst>
      </pc:sldChg>
      <pc:sldChg chg="del">
        <pc:chgData name="Strain, Mallory (A&amp;F)" userId="S::mallory.strain@mass.gov::7f2f9c2c-98ee-44e6-afe8-8ea6a9111392" providerId="AD" clId="Web-{BE9AF50B-4865-ED20-B213-093C7D2FAA55}" dt="2025-02-11T18:05:19.827" v="61"/>
        <pc:sldMkLst>
          <pc:docMk/>
          <pc:sldMk cId="4205499045" sldId="2147483484"/>
        </pc:sldMkLst>
      </pc:sldChg>
      <pc:sldChg chg="del">
        <pc:chgData name="Strain, Mallory (A&amp;F)" userId="S::mallory.strain@mass.gov::7f2f9c2c-98ee-44e6-afe8-8ea6a9111392" providerId="AD" clId="Web-{BE9AF50B-4865-ED20-B213-093C7D2FAA55}" dt="2025-02-11T18:05:23.687" v="62"/>
        <pc:sldMkLst>
          <pc:docMk/>
          <pc:sldMk cId="1192983217" sldId="2147483485"/>
        </pc:sldMkLst>
      </pc:sldChg>
      <pc:sldChg chg="modSp modCm">
        <pc:chgData name="Strain, Mallory (A&amp;F)" userId="S::mallory.strain@mass.gov::7f2f9c2c-98ee-44e6-afe8-8ea6a9111392" providerId="AD" clId="Web-{BE9AF50B-4865-ED20-B213-093C7D2FAA55}" dt="2025-02-11T17:25:57.112" v="60" actId="20577"/>
        <pc:sldMkLst>
          <pc:docMk/>
          <pc:sldMk cId="1741467460" sldId="214748348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BE9AF50B-4865-ED20-B213-093C7D2FAA55}" dt="2025-02-11T17:25:28.440" v="59" actId="20577"/>
              <pc2:cmMkLst xmlns:pc2="http://schemas.microsoft.com/office/powerpoint/2019/9/main/command">
                <pc:docMk/>
                <pc:sldMk cId="1741467460" sldId="2147483486"/>
                <pc2:cmMk id="{B53EFA4F-E9B3-3946-AFC0-E05CEFB9288B}"/>
              </pc2:cmMkLst>
            </pc226:cmChg>
          </p:ext>
        </pc:extLst>
      </pc:sldChg>
    </pc:docChg>
  </pc:docChgLst>
  <pc:docChgLst>
    <pc:chgData name="LaRocca, Robert E. (A&amp;F)" userId="S::robert.e.larocca@mass.gov::ceee8bfd-19b9-4b75-a601-a6435830a151" providerId="AD" clId="Web-{3956A604-6107-5E08-CDE6-F8D220DBED93}"/>
    <pc:docChg chg="addSld delSld modSld sldOrd">
      <pc:chgData name="LaRocca, Robert E. (A&amp;F)" userId="S::robert.e.larocca@mass.gov::ceee8bfd-19b9-4b75-a601-a6435830a151" providerId="AD" clId="Web-{3956A604-6107-5E08-CDE6-F8D220DBED93}" dt="2025-02-11T00:31:04.320" v="27"/>
      <pc:docMkLst>
        <pc:docMk/>
      </pc:docMkLst>
      <pc:sldChg chg="modSp">
        <pc:chgData name="LaRocca, Robert E. (A&amp;F)" userId="S::robert.e.larocca@mass.gov::ceee8bfd-19b9-4b75-a601-a6435830a151" providerId="AD" clId="Web-{3956A604-6107-5E08-CDE6-F8D220DBED93}" dt="2025-02-10T19:26:46.093" v="14" actId="20577"/>
        <pc:sldMkLst>
          <pc:docMk/>
          <pc:sldMk cId="1026363083" sldId="259"/>
        </pc:sldMkLst>
      </pc:sldChg>
      <pc:sldChg chg="del">
        <pc:chgData name="LaRocca, Robert E. (A&amp;F)" userId="S::robert.e.larocca@mass.gov::ceee8bfd-19b9-4b75-a601-a6435830a151" providerId="AD" clId="Web-{3956A604-6107-5E08-CDE6-F8D220DBED93}" dt="2025-02-10T19:26:21.609" v="0"/>
        <pc:sldMkLst>
          <pc:docMk/>
          <pc:sldMk cId="1689641411" sldId="268"/>
        </pc:sldMkLst>
      </pc:sldChg>
      <pc:sldChg chg="modSp ord">
        <pc:chgData name="LaRocca, Robert E. (A&amp;F)" userId="S::robert.e.larocca@mass.gov::ceee8bfd-19b9-4b75-a601-a6435830a151" providerId="AD" clId="Web-{3956A604-6107-5E08-CDE6-F8D220DBED93}" dt="2025-02-11T00:31:04.320" v="27"/>
        <pc:sldMkLst>
          <pc:docMk/>
          <pc:sldMk cId="2588308686" sldId="2147481537"/>
        </pc:sldMkLst>
      </pc:sldChg>
      <pc:sldChg chg="add">
        <pc:chgData name="LaRocca, Robert E. (A&amp;F)" userId="S::robert.e.larocca@mass.gov::ceee8bfd-19b9-4b75-a601-a6435830a151" providerId="AD" clId="Web-{3956A604-6107-5E08-CDE6-F8D220DBED93}" dt="2025-02-11T00:30:19.868" v="25"/>
        <pc:sldMkLst>
          <pc:docMk/>
          <pc:sldMk cId="3781811713" sldId="2147483488"/>
        </pc:sldMkLst>
      </pc:sldChg>
      <pc:sldChg chg="add">
        <pc:chgData name="LaRocca, Robert E. (A&amp;F)" userId="S::robert.e.larocca@mass.gov::ceee8bfd-19b9-4b75-a601-a6435830a151" providerId="AD" clId="Web-{3956A604-6107-5E08-CDE6-F8D220DBED93}" dt="2025-02-11T00:30:45.024" v="26"/>
        <pc:sldMkLst>
          <pc:docMk/>
          <pc:sldMk cId="812206341" sldId="2147483489"/>
        </pc:sldMkLst>
      </pc:sldChg>
    </pc:docChg>
  </pc:docChgLst>
  <pc:docChgLst>
    <pc:chgData name="Jauhar, Mehar (A&amp;F)" userId="6b184fc0-f80d-46ab-a4ba-4a5755ad07a6" providerId="ADAL" clId="{D0691B5D-B3A4-4051-A639-60B025059FB9}"/>
    <pc:docChg chg="undo custSel addSld delSld modSld delMainMaster">
      <pc:chgData name="Jauhar, Mehar (A&amp;F)" userId="6b184fc0-f80d-46ab-a4ba-4a5755ad07a6" providerId="ADAL" clId="{D0691B5D-B3A4-4051-A639-60B025059FB9}" dt="2025-03-04T22:25:14.039" v="647" actId="1076"/>
      <pc:docMkLst>
        <pc:docMk/>
      </pc:docMkLst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1603070670" sldId="258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184265668" sldId="258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3463737882" sldId="258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827913667" sldId="263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1319316017" sldId="263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428010857" sldId="263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3177820762" sldId="264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962432548" sldId="264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4026100562" sldId="264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708320190" sldId="266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1779510330" sldId="266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3080058655" sldId="266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555550246" sldId="273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1147042437" sldId="273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2905261175" sldId="273"/>
        </pc:sldMkLst>
      </pc:sldChg>
      <pc:sldChg chg="modSp mod">
        <pc:chgData name="Jauhar, Mehar (A&amp;F)" userId="6b184fc0-f80d-46ab-a4ba-4a5755ad07a6" providerId="ADAL" clId="{D0691B5D-B3A4-4051-A639-60B025059FB9}" dt="2025-03-04T18:01:04.132" v="46" actId="255"/>
        <pc:sldMkLst>
          <pc:docMk/>
          <pc:sldMk cId="2568010536" sldId="276"/>
        </pc:sldMkLst>
      </pc:sldChg>
      <pc:sldChg chg="del">
        <pc:chgData name="Jauhar, Mehar (A&amp;F)" userId="6b184fc0-f80d-46ab-a4ba-4a5755ad07a6" providerId="ADAL" clId="{D0691B5D-B3A4-4051-A639-60B025059FB9}" dt="2025-03-04T17:04:05.417" v="0" actId="47"/>
        <pc:sldMkLst>
          <pc:docMk/>
          <pc:sldMk cId="1331652569" sldId="277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81840332" sldId="280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956037585" sldId="280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2476568155" sldId="280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774693888" sldId="282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2061762888" sldId="282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2294096728" sldId="282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1293007105" sldId="283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2207065203" sldId="283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068258870" sldId="283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481167386" sldId="284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2613441173" sldId="284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2800018724" sldId="284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1621018865" sldId="289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2086959325" sldId="289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3941707896" sldId="289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929081520" sldId="290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266884010" sldId="290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3739978763" sldId="290"/>
        </pc:sldMkLst>
      </pc:sldChg>
      <pc:sldChg chg="modSp mod modCm">
        <pc:chgData name="Jauhar, Mehar (A&amp;F)" userId="6b184fc0-f80d-46ab-a4ba-4a5755ad07a6" providerId="ADAL" clId="{D0691B5D-B3A4-4051-A639-60B025059FB9}" dt="2025-03-04T19:58:24.954" v="400" actId="20577"/>
        <pc:sldMkLst>
          <pc:docMk/>
          <pc:sldMk cId="1721034712" sldId="214748152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6b184fc0-f80d-46ab-a4ba-4a5755ad07a6" providerId="ADAL" clId="{D0691B5D-B3A4-4051-A639-60B025059FB9}" dt="2025-03-04T18:20:03.246" v="180" actId="20577"/>
              <pc2:cmMkLst xmlns:pc2="http://schemas.microsoft.com/office/powerpoint/2019/9/main/command">
                <pc:docMk/>
                <pc:sldMk cId="1721034712" sldId="2147481527"/>
                <pc2:cmMk id="{8A942E62-0CBA-44B6-BFB2-C7E6E8F54B43}"/>
              </pc2:cmMkLst>
            </pc226:cmChg>
          </p:ext>
        </pc:extLst>
      </pc:sldChg>
      <pc:sldChg chg="addSp delSp modSp mod">
        <pc:chgData name="Jauhar, Mehar (A&amp;F)" userId="6b184fc0-f80d-46ab-a4ba-4a5755ad07a6" providerId="ADAL" clId="{D0691B5D-B3A4-4051-A639-60B025059FB9}" dt="2025-03-04T22:25:14.039" v="647" actId="1076"/>
        <pc:sldMkLst>
          <pc:docMk/>
          <pc:sldMk cId="1703071084" sldId="2147481544"/>
        </pc:sldMkLst>
      </pc:sldChg>
      <pc:sldChg chg="modSp mod modCm">
        <pc:chgData name="Jauhar, Mehar (A&amp;F)" userId="6b184fc0-f80d-46ab-a4ba-4a5755ad07a6" providerId="ADAL" clId="{D0691B5D-B3A4-4051-A639-60B025059FB9}" dt="2025-03-04T19:54:13.044" v="389" actId="2062"/>
        <pc:sldMkLst>
          <pc:docMk/>
          <pc:sldMk cId="866654257" sldId="214748347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6b184fc0-f80d-46ab-a4ba-4a5755ad07a6" providerId="ADAL" clId="{D0691B5D-B3A4-4051-A639-60B025059FB9}" dt="2025-03-04T18:04:42.089" v="91" actId="20577"/>
              <pc2:cmMkLst xmlns:pc2="http://schemas.microsoft.com/office/powerpoint/2019/9/main/command">
                <pc:docMk/>
                <pc:sldMk cId="866654257" sldId="2147483472"/>
                <pc2:cmMk id="{8866983E-4EF8-4FEE-BCA5-FA1CEF3C2C4A}"/>
              </pc2:cmMkLst>
            </pc226:cmChg>
          </p:ext>
        </pc:extLst>
      </pc:sldChg>
      <pc:sldChg chg="modSp mod">
        <pc:chgData name="Jauhar, Mehar (A&amp;F)" userId="6b184fc0-f80d-46ab-a4ba-4a5755ad07a6" providerId="ADAL" clId="{D0691B5D-B3A4-4051-A639-60B025059FB9}" dt="2025-03-04T21:45:15.149" v="442" actId="313"/>
        <pc:sldMkLst>
          <pc:docMk/>
          <pc:sldMk cId="3379675862" sldId="2147483477"/>
        </pc:sldMkLst>
      </pc:sldChg>
      <pc:sldChg chg="modSp mod">
        <pc:chgData name="Jauhar, Mehar (A&amp;F)" userId="6b184fc0-f80d-46ab-a4ba-4a5755ad07a6" providerId="ADAL" clId="{D0691B5D-B3A4-4051-A639-60B025059FB9}" dt="2025-03-04T18:04:19.545" v="49" actId="13926"/>
        <pc:sldMkLst>
          <pc:docMk/>
          <pc:sldMk cId="2732401005" sldId="2147483478"/>
        </pc:sldMkLst>
      </pc:sldChg>
      <pc:sldChg chg="modSp mod">
        <pc:chgData name="Jauhar, Mehar (A&amp;F)" userId="6b184fc0-f80d-46ab-a4ba-4a5755ad07a6" providerId="ADAL" clId="{D0691B5D-B3A4-4051-A639-60B025059FB9}" dt="2025-03-04T19:58:09.306" v="398" actId="20577"/>
        <pc:sldMkLst>
          <pc:docMk/>
          <pc:sldMk cId="3830842327" sldId="2147483487"/>
        </pc:sldMkLst>
      </pc:sldChg>
      <pc:sldChg chg="del">
        <pc:chgData name="Jauhar, Mehar (A&amp;F)" userId="6b184fc0-f80d-46ab-a4ba-4a5755ad07a6" providerId="ADAL" clId="{D0691B5D-B3A4-4051-A639-60B025059FB9}" dt="2025-03-04T17:04:05.417" v="0" actId="47"/>
        <pc:sldMkLst>
          <pc:docMk/>
          <pc:sldMk cId="143442826" sldId="2147483490"/>
        </pc:sldMkLst>
      </pc:sldChg>
      <pc:sldChg chg="del">
        <pc:chgData name="Jauhar, Mehar (A&amp;F)" userId="6b184fc0-f80d-46ab-a4ba-4a5755ad07a6" providerId="ADAL" clId="{D0691B5D-B3A4-4051-A639-60B025059FB9}" dt="2025-03-04T17:04:14.539" v="1" actId="47"/>
        <pc:sldMkLst>
          <pc:docMk/>
          <pc:sldMk cId="0" sldId="2147483491"/>
        </pc:sldMkLst>
      </pc:sldChg>
      <pc:sldChg chg="del">
        <pc:chgData name="Jauhar, Mehar (A&amp;F)" userId="6b184fc0-f80d-46ab-a4ba-4a5755ad07a6" providerId="ADAL" clId="{D0691B5D-B3A4-4051-A639-60B025059FB9}" dt="2025-03-04T17:04:14.539" v="1" actId="47"/>
        <pc:sldMkLst>
          <pc:docMk/>
          <pc:sldMk cId="2976025070" sldId="2147483492"/>
        </pc:sldMkLst>
      </pc:sldChg>
      <pc:sldChg chg="del">
        <pc:chgData name="Jauhar, Mehar (A&amp;F)" userId="6b184fc0-f80d-46ab-a4ba-4a5755ad07a6" providerId="ADAL" clId="{D0691B5D-B3A4-4051-A639-60B025059FB9}" dt="2025-03-04T17:04:14.539" v="1" actId="47"/>
        <pc:sldMkLst>
          <pc:docMk/>
          <pc:sldMk cId="1822034790" sldId="2147483493"/>
        </pc:sldMkLst>
      </pc:sldChg>
      <pc:sldChg chg="del">
        <pc:chgData name="Jauhar, Mehar (A&amp;F)" userId="6b184fc0-f80d-46ab-a4ba-4a5755ad07a6" providerId="ADAL" clId="{D0691B5D-B3A4-4051-A639-60B025059FB9}" dt="2025-03-04T17:04:14.539" v="1" actId="47"/>
        <pc:sldMkLst>
          <pc:docMk/>
          <pc:sldMk cId="4047586213" sldId="2147483494"/>
        </pc:sldMkLst>
      </pc:sldChg>
      <pc:sldChg chg="del">
        <pc:chgData name="Jauhar, Mehar (A&amp;F)" userId="6b184fc0-f80d-46ab-a4ba-4a5755ad07a6" providerId="ADAL" clId="{D0691B5D-B3A4-4051-A639-60B025059FB9}" dt="2025-03-04T17:04:05.417" v="0" actId="47"/>
        <pc:sldMkLst>
          <pc:docMk/>
          <pc:sldMk cId="0" sldId="2147483495"/>
        </pc:sldMkLst>
      </pc:sldChg>
      <pc:sldChg chg="del">
        <pc:chgData name="Jauhar, Mehar (A&amp;F)" userId="6b184fc0-f80d-46ab-a4ba-4a5755ad07a6" providerId="ADAL" clId="{D0691B5D-B3A4-4051-A639-60B025059FB9}" dt="2025-03-04T17:04:05.417" v="0" actId="47"/>
        <pc:sldMkLst>
          <pc:docMk/>
          <pc:sldMk cId="1887881709" sldId="2147483496"/>
        </pc:sldMkLst>
      </pc:sldChg>
      <pc:sldChg chg="add">
        <pc:chgData name="Jauhar, Mehar (A&amp;F)" userId="6b184fc0-f80d-46ab-a4ba-4a5755ad07a6" providerId="ADAL" clId="{D0691B5D-B3A4-4051-A639-60B025059FB9}" dt="2025-03-04T18:02:50.312" v="48"/>
        <pc:sldMkLst>
          <pc:docMk/>
          <pc:sldMk cId="3239282385" sldId="2147483497"/>
        </pc:sldMkLst>
      </pc:sldChg>
      <pc:sldChg chg="del">
        <pc:chgData name="Jauhar, Mehar (A&amp;F)" userId="6b184fc0-f80d-46ab-a4ba-4a5755ad07a6" providerId="ADAL" clId="{D0691B5D-B3A4-4051-A639-60B025059FB9}" dt="2025-03-04T18:02:40.340" v="47" actId="2696"/>
        <pc:sldMkLst>
          <pc:docMk/>
          <pc:sldMk cId="1704429902" sldId="2147483498"/>
        </pc:sldMkLst>
      </pc:sldChg>
      <pc:sldChg chg="del">
        <pc:chgData name="Jauhar, Mehar (A&amp;F)" userId="6b184fc0-f80d-46ab-a4ba-4a5755ad07a6" providerId="ADAL" clId="{D0691B5D-B3A4-4051-A639-60B025059FB9}" dt="2025-03-04T18:02:40.340" v="47" actId="2696"/>
        <pc:sldMkLst>
          <pc:docMk/>
          <pc:sldMk cId="4264695963" sldId="2147483499"/>
        </pc:sldMkLst>
      </pc:sldChg>
      <pc:sldChg chg="del">
        <pc:chgData name="Jauhar, Mehar (A&amp;F)" userId="6b184fc0-f80d-46ab-a4ba-4a5755ad07a6" providerId="ADAL" clId="{D0691B5D-B3A4-4051-A639-60B025059FB9}" dt="2025-03-04T18:02:40.340" v="47" actId="2696"/>
        <pc:sldMkLst>
          <pc:docMk/>
          <pc:sldMk cId="3262372940" sldId="2147483500"/>
        </pc:sldMkLst>
      </pc:sldChg>
      <pc:sldChg chg="del">
        <pc:chgData name="Jauhar, Mehar (A&amp;F)" userId="6b184fc0-f80d-46ab-a4ba-4a5755ad07a6" providerId="ADAL" clId="{D0691B5D-B3A4-4051-A639-60B025059FB9}" dt="2025-03-04T17:59:44.227" v="27" actId="2696"/>
        <pc:sldMkLst>
          <pc:docMk/>
          <pc:sldMk cId="2169864082" sldId="2147483501"/>
        </pc:sldMkLst>
      </pc:sldChg>
      <pc:sldChg chg="add">
        <pc:chgData name="Jauhar, Mehar (A&amp;F)" userId="6b184fc0-f80d-46ab-a4ba-4a5755ad07a6" providerId="ADAL" clId="{D0691B5D-B3A4-4051-A639-60B025059FB9}" dt="2025-03-04T17:59:53.471" v="28"/>
        <pc:sldMkLst>
          <pc:docMk/>
          <pc:sldMk cId="3479559200" sldId="2147483501"/>
        </pc:sldMkLst>
      </pc:sldChg>
      <pc:sldChg chg="del">
        <pc:chgData name="Jauhar, Mehar (A&amp;F)" userId="6b184fc0-f80d-46ab-a4ba-4a5755ad07a6" providerId="ADAL" clId="{D0691B5D-B3A4-4051-A639-60B025059FB9}" dt="2025-03-04T17:59:34.811" v="26" actId="47"/>
        <pc:sldMkLst>
          <pc:docMk/>
          <pc:sldMk cId="1751452576" sldId="2147483502"/>
        </pc:sldMkLst>
      </pc:sldChg>
      <pc:sldChg chg="del">
        <pc:chgData name="Jauhar, Mehar (A&amp;F)" userId="6b184fc0-f80d-46ab-a4ba-4a5755ad07a6" providerId="ADAL" clId="{D0691B5D-B3A4-4051-A639-60B025059FB9}" dt="2025-03-04T17:59:55.426" v="29" actId="47"/>
        <pc:sldMkLst>
          <pc:docMk/>
          <pc:sldMk cId="2022370527" sldId="2147483503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865910496" sldId="2147483504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1154839399" sldId="2147483504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1410004068" sldId="2147483505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2976025070" sldId="2147483505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411955083" sldId="2147483505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1606168665" sldId="2147483506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1822034790" sldId="2147483506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3121090648" sldId="2147483506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3764995494" sldId="2147483507"/>
        </pc:sldMkLst>
      </pc:sldChg>
      <pc:sldChg chg="modSp add mod">
        <pc:chgData name="Jauhar, Mehar (A&amp;F)" userId="6b184fc0-f80d-46ab-a4ba-4a5755ad07a6" providerId="ADAL" clId="{D0691B5D-B3A4-4051-A639-60B025059FB9}" dt="2025-03-04T17:59:20.502" v="25" actId="27636"/>
        <pc:sldMkLst>
          <pc:docMk/>
          <pc:sldMk cId="3958664746" sldId="2147483507"/>
        </pc:sldMkLst>
      </pc:sldChg>
      <pc:sldChg chg="modSp add del mod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4047586213" sldId="2147483507"/>
        </pc:sldMkLst>
      </pc:sldChg>
      <pc:sldChg chg="modSp mod">
        <pc:chgData name="Jauhar, Mehar (A&amp;F)" userId="6b184fc0-f80d-46ab-a4ba-4a5755ad07a6" providerId="ADAL" clId="{D0691B5D-B3A4-4051-A639-60B025059FB9}" dt="2025-03-04T21:44:01.820" v="441" actId="20577"/>
        <pc:sldMkLst>
          <pc:docMk/>
          <pc:sldMk cId="2318375095" sldId="2147483508"/>
        </pc:sldMkLst>
      </pc:sldChg>
      <pc:sldChg chg="modSp add mod modCm">
        <pc:chgData name="Jauhar, Mehar (A&amp;F)" userId="6b184fc0-f80d-46ab-a4ba-4a5755ad07a6" providerId="ADAL" clId="{D0691B5D-B3A4-4051-A639-60B025059FB9}" dt="2025-03-04T19:54:07.411" v="388" actId="14734"/>
        <pc:sldMkLst>
          <pc:docMk/>
          <pc:sldMk cId="202134423" sldId="214748350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6b184fc0-f80d-46ab-a4ba-4a5755ad07a6" providerId="ADAL" clId="{D0691B5D-B3A4-4051-A639-60B025059FB9}" dt="2025-03-04T18:33:22.650" v="348" actId="20577"/>
              <pc2:cmMkLst xmlns:pc2="http://schemas.microsoft.com/office/powerpoint/2019/9/main/command">
                <pc:docMk/>
                <pc:sldMk cId="202134423" sldId="2147483509"/>
                <pc2:cmMk id="{81827298-54D0-46F3-976F-69EBAD7F5398}"/>
              </pc2:cmMkLst>
            </pc226:cmChg>
          </p:ext>
        </pc:extLst>
      </pc:sldChg>
      <pc:sldMasterChg chg="del delSldLayout">
        <pc:chgData name="Jauhar, Mehar (A&amp;F)" userId="6b184fc0-f80d-46ab-a4ba-4a5755ad07a6" providerId="ADAL" clId="{D0691B5D-B3A4-4051-A639-60B025059FB9}" dt="2025-03-04T17:04:14.539" v="1" actId="47"/>
        <pc:sldMasterMkLst>
          <pc:docMk/>
          <pc:sldMasterMk cId="2416757173" sldId="2147483951"/>
        </pc:sldMasterMkLst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1000333641" sldId="2147483952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338850970" sldId="2147483953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2706009303" sldId="2147483954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3494169445" sldId="2147483955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1946292182" sldId="2147483956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3633361666" sldId="2147483957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2389406583" sldId="2147483958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3757600085" sldId="2147483959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2093373228" sldId="2147483960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3497602543" sldId="2147483961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4200699477" sldId="2147483962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1826180283" sldId="2147483963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2378053328" sldId="2147483964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4169755373" sldId="2147483965"/>
          </pc:sldLayoutMkLst>
        </pc:sldLayoutChg>
      </pc:sldMasterChg>
      <pc:sldMasterChg chg="del delSldLayout">
        <pc:chgData name="Jauhar, Mehar (A&amp;F)" userId="6b184fc0-f80d-46ab-a4ba-4a5755ad07a6" providerId="ADAL" clId="{D0691B5D-B3A4-4051-A639-60B025059FB9}" dt="2025-03-04T18:02:40.340" v="47" actId="2696"/>
        <pc:sldMasterMkLst>
          <pc:docMk/>
          <pc:sldMasterMk cId="2240319431" sldId="2147483966"/>
        </pc:sldMasterMkLst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1277181123" sldId="2147483967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2765773076" sldId="2147483968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1547909604" sldId="2147483969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1372498655" sldId="2147483970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706258079" sldId="2147483971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255884297" sldId="2147483972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994575904" sldId="2147483973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619456708" sldId="2147483974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4184349238" sldId="2147483975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3712016902" sldId="2147483976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131699727" sldId="2147483977"/>
          </pc:sldLayoutMkLst>
        </pc:sldLayoutChg>
      </pc:sldMasterChg>
      <pc:sldMasterChg chg="del delSldLayout">
        <pc:chgData name="Jauhar, Mehar (A&amp;F)" userId="6b184fc0-f80d-46ab-a4ba-4a5755ad07a6" providerId="ADAL" clId="{D0691B5D-B3A4-4051-A639-60B025059FB9}" dt="2025-03-04T17:59:01.309" v="12" actId="2696"/>
        <pc:sldMasterMkLst>
          <pc:docMk/>
          <pc:sldMasterMk cId="84464577" sldId="2147483978"/>
        </pc:sldMasterMkLst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3439233083" sldId="2147483979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1474194079" sldId="2147483980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3782553167" sldId="2147483981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3027656185" sldId="2147483982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450637118" sldId="2147483983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2352980835" sldId="2147483984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551972382" sldId="2147483985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175783073" sldId="2147483986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1312730434" sldId="2147483987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1831050696" sldId="2147483988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547306320" sldId="2147483989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3946425869" sldId="2147483990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257097436" sldId="2147483991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3051565894" sldId="2147483992"/>
          </pc:sldLayoutMkLst>
        </pc:sldLayoutChg>
      </pc:sldMasterChg>
    </pc:docChg>
  </pc:docChgLst>
  <pc:docChgLst>
    <pc:chgData name="Strain, Mallory (A&amp;F)" userId="S::mallory.strain@mass.gov::7f2f9c2c-98ee-44e6-afe8-8ea6a9111392" providerId="AD" clId="Web-{20A8D27D-3F88-6089-5C8A-5E0D7E909796}"/>
    <pc:docChg chg="addSld delSld modSld sldOrd">
      <pc:chgData name="Strain, Mallory (A&amp;F)" userId="S::mallory.strain@mass.gov::7f2f9c2c-98ee-44e6-afe8-8ea6a9111392" providerId="AD" clId="Web-{20A8D27D-3F88-6089-5C8A-5E0D7E909796}" dt="2025-06-04T12:58:53.326" v="105" actId="20577"/>
      <pc:docMkLst>
        <pc:docMk/>
      </pc:docMkLst>
      <pc:sldChg chg="ord">
        <pc:chgData name="Strain, Mallory (A&amp;F)" userId="S::mallory.strain@mass.gov::7f2f9c2c-98ee-44e6-afe8-8ea6a9111392" providerId="AD" clId="Web-{20A8D27D-3F88-6089-5C8A-5E0D7E909796}" dt="2025-06-04T12:42:27.815" v="2"/>
        <pc:sldMkLst>
          <pc:docMk/>
          <pc:sldMk cId="577836834" sldId="261"/>
        </pc:sldMkLst>
      </pc:sldChg>
      <pc:sldChg chg="ord">
        <pc:chgData name="Strain, Mallory (A&amp;F)" userId="S::mallory.strain@mass.gov::7f2f9c2c-98ee-44e6-afe8-8ea6a9111392" providerId="AD" clId="Web-{20A8D27D-3F88-6089-5C8A-5E0D7E909796}" dt="2025-06-04T12:42:51.674" v="3"/>
        <pc:sldMkLst>
          <pc:docMk/>
          <pc:sldMk cId="4265183314" sldId="262"/>
        </pc:sldMkLst>
      </pc:sldChg>
      <pc:sldChg chg="ord">
        <pc:chgData name="Strain, Mallory (A&amp;F)" userId="S::mallory.strain@mass.gov::7f2f9c2c-98ee-44e6-afe8-8ea6a9111392" providerId="AD" clId="Web-{20A8D27D-3F88-6089-5C8A-5E0D7E909796}" dt="2025-06-04T12:43:13.533" v="4"/>
        <pc:sldMkLst>
          <pc:docMk/>
          <pc:sldMk cId="3649385627" sldId="265"/>
        </pc:sldMkLst>
      </pc:sldChg>
      <pc:sldChg chg="ord">
        <pc:chgData name="Strain, Mallory (A&amp;F)" userId="S::mallory.strain@mass.gov::7f2f9c2c-98ee-44e6-afe8-8ea6a9111392" providerId="AD" clId="Web-{20A8D27D-3F88-6089-5C8A-5E0D7E909796}" dt="2025-06-04T12:43:24.393" v="5"/>
        <pc:sldMkLst>
          <pc:docMk/>
          <pc:sldMk cId="3907225946" sldId="266"/>
        </pc:sldMkLst>
      </pc:sldChg>
      <pc:sldChg chg="ord">
        <pc:chgData name="Strain, Mallory (A&amp;F)" userId="S::mallory.strain@mass.gov::7f2f9c2c-98ee-44e6-afe8-8ea6a9111392" providerId="AD" clId="Web-{20A8D27D-3F88-6089-5C8A-5E0D7E909796}" dt="2025-06-04T12:43:33.064" v="6"/>
        <pc:sldMkLst>
          <pc:docMk/>
          <pc:sldMk cId="2104758091" sldId="270"/>
        </pc:sldMkLst>
      </pc:sldChg>
      <pc:sldChg chg="ord">
        <pc:chgData name="Strain, Mallory (A&amp;F)" userId="S::mallory.strain@mass.gov::7f2f9c2c-98ee-44e6-afe8-8ea6a9111392" providerId="AD" clId="Web-{20A8D27D-3F88-6089-5C8A-5E0D7E909796}" dt="2025-06-04T12:39:58.925" v="0"/>
        <pc:sldMkLst>
          <pc:docMk/>
          <pc:sldMk cId="663814086" sldId="3351"/>
        </pc:sldMkLst>
      </pc:sldChg>
      <pc:sldChg chg="mod modShow">
        <pc:chgData name="Strain, Mallory (A&amp;F)" userId="S::mallory.strain@mass.gov::7f2f9c2c-98ee-44e6-afe8-8ea6a9111392" providerId="AD" clId="Web-{20A8D27D-3F88-6089-5C8A-5E0D7E909796}" dt="2025-06-04T12:46:00.829" v="65"/>
        <pc:sldMkLst>
          <pc:docMk/>
          <pc:sldMk cId="2733478352" sldId="2147481541"/>
        </pc:sldMkLst>
      </pc:sldChg>
      <pc:sldChg chg="mod modShow">
        <pc:chgData name="Strain, Mallory (A&amp;F)" userId="S::mallory.strain@mass.gov::7f2f9c2c-98ee-44e6-afe8-8ea6a9111392" providerId="AD" clId="Web-{20A8D27D-3F88-6089-5C8A-5E0D7E909796}" dt="2025-06-04T12:45:57.736" v="64"/>
        <pc:sldMkLst>
          <pc:docMk/>
          <pc:sldMk cId="719758237" sldId="2147481542"/>
        </pc:sldMkLst>
      </pc:sldChg>
      <pc:sldChg chg="modSp ord">
        <pc:chgData name="Strain, Mallory (A&amp;F)" userId="S::mallory.strain@mass.gov::7f2f9c2c-98ee-44e6-afe8-8ea6a9111392" providerId="AD" clId="Web-{20A8D27D-3F88-6089-5C8A-5E0D7E909796}" dt="2025-06-04T12:58:18.233" v="90"/>
        <pc:sldMkLst>
          <pc:docMk/>
          <pc:sldMk cId="2459882351" sldId="2147483534"/>
        </pc:sldMkLst>
        <pc:graphicFrameChg chg="modGraphic">
          <ac:chgData name="Strain, Mallory (A&amp;F)" userId="S::mallory.strain@mass.gov::7f2f9c2c-98ee-44e6-afe8-8ea6a9111392" providerId="AD" clId="Web-{20A8D27D-3F88-6089-5C8A-5E0D7E909796}" dt="2025-06-04T12:58:15.327" v="89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  <pc:sldChg chg="modSp">
        <pc:chgData name="Strain, Mallory (A&amp;F)" userId="S::mallory.strain@mass.gov::7f2f9c2c-98ee-44e6-afe8-8ea6a9111392" providerId="AD" clId="Web-{20A8D27D-3F88-6089-5C8A-5E0D7E909796}" dt="2025-06-04T12:58:53.326" v="105" actId="20577"/>
        <pc:sldMkLst>
          <pc:docMk/>
          <pc:sldMk cId="3732393151" sldId="2147483540"/>
        </pc:sldMkLst>
        <pc:spChg chg="mod">
          <ac:chgData name="Strain, Mallory (A&amp;F)" userId="S::mallory.strain@mass.gov::7f2f9c2c-98ee-44e6-afe8-8ea6a9111392" providerId="AD" clId="Web-{20A8D27D-3F88-6089-5C8A-5E0D7E909796}" dt="2025-06-04T12:58:53.326" v="105" actId="20577"/>
          <ac:spMkLst>
            <pc:docMk/>
            <pc:sldMk cId="3732393151" sldId="2147483540"/>
            <ac:spMk id="9" creationId="{768BA126-FB10-CA43-4107-F6ACEA3AFF15}"/>
          </ac:spMkLst>
        </pc:spChg>
        <pc:graphicFrameChg chg="mod modGraphic">
          <ac:chgData name="Strain, Mallory (A&amp;F)" userId="S::mallory.strain@mass.gov::7f2f9c2c-98ee-44e6-afe8-8ea6a9111392" providerId="AD" clId="Web-{20A8D27D-3F88-6089-5C8A-5E0D7E909796}" dt="2025-06-04T12:58:09.686" v="88"/>
          <ac:graphicFrameMkLst>
            <pc:docMk/>
            <pc:sldMk cId="3732393151" sldId="2147483540"/>
            <ac:graphicFrameMk id="6" creationId="{6A6980E1-34F0-6FB4-7B9D-EBB8D9A4230E}"/>
          </ac:graphicFrameMkLst>
        </pc:graphicFrameChg>
      </pc:sldChg>
      <pc:sldChg chg="ord">
        <pc:chgData name="Strain, Mallory (A&amp;F)" userId="S::mallory.strain@mass.gov::7f2f9c2c-98ee-44e6-afe8-8ea6a9111392" providerId="AD" clId="Web-{20A8D27D-3F88-6089-5C8A-5E0D7E909796}" dt="2025-06-04T12:42:14.002" v="1"/>
        <pc:sldMkLst>
          <pc:docMk/>
          <pc:sldMk cId="109857222" sldId="2147483542"/>
        </pc:sldMkLst>
      </pc:sldChg>
      <pc:sldChg chg="new del">
        <pc:chgData name="Strain, Mallory (A&amp;F)" userId="S::mallory.strain@mass.gov::7f2f9c2c-98ee-44e6-afe8-8ea6a9111392" providerId="AD" clId="Web-{20A8D27D-3F88-6089-5C8A-5E0D7E909796}" dt="2025-06-04T12:45:04.642" v="8"/>
        <pc:sldMkLst>
          <pc:docMk/>
          <pc:sldMk cId="701229912" sldId="2147483543"/>
        </pc:sldMkLst>
      </pc:sldChg>
      <pc:sldChg chg="modSp add ord replId">
        <pc:chgData name="Strain, Mallory (A&amp;F)" userId="S::mallory.strain@mass.gov::7f2f9c2c-98ee-44e6-afe8-8ea6a9111392" providerId="AD" clId="Web-{20A8D27D-3F88-6089-5C8A-5E0D7E909796}" dt="2025-06-04T12:45:52.923" v="63" actId="20577"/>
        <pc:sldMkLst>
          <pc:docMk/>
          <pc:sldMk cId="3362077526" sldId="2147483543"/>
        </pc:sldMkLst>
        <pc:spChg chg="mod">
          <ac:chgData name="Strain, Mallory (A&amp;F)" userId="S::mallory.strain@mass.gov::7f2f9c2c-98ee-44e6-afe8-8ea6a9111392" providerId="AD" clId="Web-{20A8D27D-3F88-6089-5C8A-5E0D7E909796}" dt="2025-06-04T12:45:52.923" v="63" actId="20577"/>
          <ac:spMkLst>
            <pc:docMk/>
            <pc:sldMk cId="3362077526" sldId="2147483543"/>
            <ac:spMk id="2" creationId="{E8425E00-9E0E-910F-5E74-B618FAFD9AA7}"/>
          </ac:spMkLst>
        </pc:spChg>
      </pc:sldChg>
    </pc:docChg>
  </pc:docChgLst>
  <pc:docChgLst>
    <pc:chgData name="Strain, Mallory (A&amp;F)" userId="S::mallory.strain@mass.gov::7f2f9c2c-98ee-44e6-afe8-8ea6a9111392" providerId="AD" clId="Web-{623EE168-A318-62FD-1D45-6C1330BE4B91}"/>
    <pc:docChg chg="modSld">
      <pc:chgData name="Strain, Mallory (A&amp;F)" userId="S::mallory.strain@mass.gov::7f2f9c2c-98ee-44e6-afe8-8ea6a9111392" providerId="AD" clId="Web-{623EE168-A318-62FD-1D45-6C1330BE4B91}" dt="2025-03-03T21:13:55.279" v="26" actId="1076"/>
      <pc:docMkLst>
        <pc:docMk/>
      </pc:docMkLst>
      <pc:sldChg chg="modSp">
        <pc:chgData name="Strain, Mallory (A&amp;F)" userId="S::mallory.strain@mass.gov::7f2f9c2c-98ee-44e6-afe8-8ea6a9111392" providerId="AD" clId="Web-{623EE168-A318-62FD-1D45-6C1330BE4B91}" dt="2025-03-03T21:13:55.279" v="26" actId="1076"/>
        <pc:sldMkLst>
          <pc:docMk/>
          <pc:sldMk cId="1741467460" sldId="2147483486"/>
        </pc:sldMkLst>
      </pc:sldChg>
    </pc:docChg>
  </pc:docChgLst>
  <pc:docChgLst>
    <pc:chgData name="Jauhar, Mehar (A&amp;F)" userId="6b184fc0-f80d-46ab-a4ba-4a5755ad07a6" providerId="ADAL" clId="{B81E14FF-A61D-9B44-917F-5B3F9427202F}"/>
    <pc:docChg chg="undo redo custSel addSld delSld modSld sldOrd">
      <pc:chgData name="Jauhar, Mehar (A&amp;F)" userId="6b184fc0-f80d-46ab-a4ba-4a5755ad07a6" providerId="ADAL" clId="{B81E14FF-A61D-9B44-917F-5B3F9427202F}" dt="2025-02-11T17:03:29.977" v="3300" actId="1076"/>
      <pc:docMkLst>
        <pc:docMk/>
      </pc:docMkLst>
      <pc:sldChg chg="modSp mod">
        <pc:chgData name="Jauhar, Mehar (A&amp;F)" userId="6b184fc0-f80d-46ab-a4ba-4a5755ad07a6" providerId="ADAL" clId="{B81E14FF-A61D-9B44-917F-5B3F9427202F}" dt="2025-02-06T23:10:00.612" v="53"/>
        <pc:sldMkLst>
          <pc:docMk/>
          <pc:sldMk cId="1706473524" sldId="256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603070670" sldId="258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319316017" sldId="26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026100562" sldId="264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708320190" sldId="266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905261175" sldId="273"/>
        </pc:sldMkLst>
      </pc:sldChg>
      <pc:sldChg chg="modSp">
        <pc:chgData name="Jauhar, Mehar (A&amp;F)" userId="6b184fc0-f80d-46ab-a4ba-4a5755ad07a6" providerId="ADAL" clId="{B81E14FF-A61D-9B44-917F-5B3F9427202F}" dt="2025-02-06T23:15:19.352" v="158" actId="20577"/>
        <pc:sldMkLst>
          <pc:docMk/>
          <pc:sldMk cId="2568010536" sldId="276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331652569" sldId="277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81840332" sldId="280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061762888" sldId="282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293007105" sldId="28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81167386" sldId="284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941707896" sldId="289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739978763" sldId="290"/>
        </pc:sldMkLst>
      </pc:sldChg>
      <pc:sldChg chg="addSp delSp modSp mod ord addCm modCm">
        <pc:chgData name="Jauhar, Mehar (A&amp;F)" userId="6b184fc0-f80d-46ab-a4ba-4a5755ad07a6" providerId="ADAL" clId="{B81E14FF-A61D-9B44-917F-5B3F9427202F}" dt="2025-02-11T00:39:24.075" v="3279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11T00:39:24.075" v="3279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  <pc226:cmRplyChg chg="add">
                <pc226:chgData name="Jauhar, Mehar (A&amp;F)" userId="6b184fc0-f80d-46ab-a4ba-4a5755ad07a6" providerId="ADAL" clId="{B81E14FF-A61D-9B44-917F-5B3F9427202F}" dt="2025-02-11T00:39:20.142" v="3278"/>
                <pc2:cmRplyMkLst xmlns:pc2="http://schemas.microsoft.com/office/powerpoint/2019/9/main/command">
                  <pc:docMk/>
                  <pc:sldMk cId="1561720608" sldId="2147481257"/>
                  <pc2:cmMk id="{A9C47818-4319-1843-81A9-FB19AAE260BA}"/>
                  <pc2:cmRplyMk id="{8DE80ABD-1F18-D748-9CE9-CE9E63E97437}"/>
                </pc2:cmRplyMkLst>
              </pc226:cmRplyChg>
            </pc226:cmChg>
          </p:ext>
        </pc:extLst>
      </pc:sldChg>
      <pc:sldChg chg="modSp del mod">
        <pc:chgData name="Jauhar, Mehar (A&amp;F)" userId="6b184fc0-f80d-46ab-a4ba-4a5755ad07a6" providerId="ADAL" clId="{B81E14FF-A61D-9B44-917F-5B3F9427202F}" dt="2025-02-07T17:28:07.768" v="1267" actId="2696"/>
        <pc:sldMkLst>
          <pc:docMk/>
          <pc:sldMk cId="2945711600" sldId="2147481260"/>
        </pc:sldMkLst>
      </pc:sldChg>
      <pc:sldChg chg="add del">
        <pc:chgData name="Jauhar, Mehar (A&amp;F)" userId="6b184fc0-f80d-46ab-a4ba-4a5755ad07a6" providerId="ADAL" clId="{B81E14FF-A61D-9B44-917F-5B3F9427202F}" dt="2025-02-07T17:44:05.668" v="1294" actId="2696"/>
        <pc:sldMkLst>
          <pc:docMk/>
          <pc:sldMk cId="738039773" sldId="2147481266"/>
        </pc:sldMkLst>
      </pc:sldChg>
      <pc:sldChg chg="del">
        <pc:chgData name="Jauhar, Mehar (A&amp;F)" userId="6b184fc0-f80d-46ab-a4ba-4a5755ad07a6" providerId="ADAL" clId="{B81E14FF-A61D-9B44-917F-5B3F9427202F}" dt="2025-02-07T17:28:05.434" v="1265" actId="2696"/>
        <pc:sldMkLst>
          <pc:docMk/>
          <pc:sldMk cId="1097958594" sldId="2147481280"/>
        </pc:sldMkLst>
      </pc:sldChg>
      <pc:sldChg chg="ord">
        <pc:chgData name="Jauhar, Mehar (A&amp;F)" userId="6b184fc0-f80d-46ab-a4ba-4a5755ad07a6" providerId="ADAL" clId="{B81E14FF-A61D-9B44-917F-5B3F9427202F}" dt="2025-02-06T23:13:04.721" v="76" actId="20578"/>
        <pc:sldMkLst>
          <pc:docMk/>
          <pc:sldMk cId="3090884649" sldId="2147481286"/>
        </pc:sldMkLst>
      </pc:sldChg>
      <pc:sldChg chg="del">
        <pc:chgData name="Jauhar, Mehar (A&amp;F)" userId="6b184fc0-f80d-46ab-a4ba-4a5755ad07a6" providerId="ADAL" clId="{B81E14FF-A61D-9B44-917F-5B3F9427202F}" dt="2025-02-06T23:17:09.216" v="262" actId="2696"/>
        <pc:sldMkLst>
          <pc:docMk/>
          <pc:sldMk cId="320107703" sldId="2147481328"/>
        </pc:sldMkLst>
      </pc:sldChg>
      <pc:sldChg chg="del">
        <pc:chgData name="Jauhar, Mehar (A&amp;F)" userId="6b184fc0-f80d-46ab-a4ba-4a5755ad07a6" providerId="ADAL" clId="{B81E14FF-A61D-9B44-917F-5B3F9427202F}" dt="2025-02-06T23:17:10.062" v="264" actId="2696"/>
        <pc:sldMkLst>
          <pc:docMk/>
          <pc:sldMk cId="4251929413" sldId="2147481401"/>
        </pc:sldMkLst>
      </pc:sldChg>
      <pc:sldChg chg="modSp del mod ord modNotesTx">
        <pc:chgData name="Jauhar, Mehar (A&amp;F)" userId="6b184fc0-f80d-46ab-a4ba-4a5755ad07a6" providerId="ADAL" clId="{B81E14FF-A61D-9B44-917F-5B3F9427202F}" dt="2025-02-07T17:22:23.729" v="1178" actId="2696"/>
        <pc:sldMkLst>
          <pc:docMk/>
          <pc:sldMk cId="1513769258" sldId="2147481409"/>
        </pc:sldMkLst>
      </pc:sldChg>
      <pc:sldChg chg="del">
        <pc:chgData name="Jauhar, Mehar (A&amp;F)" userId="6b184fc0-f80d-46ab-a4ba-4a5755ad07a6" providerId="ADAL" clId="{B81E14FF-A61D-9B44-917F-5B3F9427202F}" dt="2025-02-06T23:13:51.024" v="86" actId="2696"/>
        <pc:sldMkLst>
          <pc:docMk/>
          <pc:sldMk cId="23261542" sldId="2147481510"/>
        </pc:sldMkLst>
      </pc:sldChg>
      <pc:sldChg chg="del">
        <pc:chgData name="Jauhar, Mehar (A&amp;F)" userId="6b184fc0-f80d-46ab-a4ba-4a5755ad07a6" providerId="ADAL" clId="{B81E14FF-A61D-9B44-917F-5B3F9427202F}" dt="2025-02-07T17:27:45.238" v="1261" actId="2696"/>
        <pc:sldMkLst>
          <pc:docMk/>
          <pc:sldMk cId="172535155" sldId="2147481513"/>
        </pc:sldMkLst>
      </pc:sldChg>
      <pc:sldChg chg="del">
        <pc:chgData name="Jauhar, Mehar (A&amp;F)" userId="6b184fc0-f80d-46ab-a4ba-4a5755ad07a6" providerId="ADAL" clId="{B81E14FF-A61D-9B44-917F-5B3F9427202F}" dt="2025-02-06T23:13:51.580" v="87" actId="2696"/>
        <pc:sldMkLst>
          <pc:docMk/>
          <pc:sldMk cId="1310640484" sldId="2147481514"/>
        </pc:sldMkLst>
      </pc:sldChg>
      <pc:sldChg chg="del">
        <pc:chgData name="Jauhar, Mehar (A&amp;F)" userId="6b184fc0-f80d-46ab-a4ba-4a5755ad07a6" providerId="ADAL" clId="{B81E14FF-A61D-9B44-917F-5B3F9427202F}" dt="2025-02-07T17:26:48.026" v="1254" actId="2696"/>
        <pc:sldMkLst>
          <pc:docMk/>
          <pc:sldMk cId="1927698087" sldId="2147481515"/>
        </pc:sldMkLst>
      </pc:sldChg>
      <pc:sldChg chg="add mod ord modShow">
        <pc:chgData name="Jauhar, Mehar (A&amp;F)" userId="6b184fc0-f80d-46ab-a4ba-4a5755ad07a6" providerId="ADAL" clId="{B81E14FF-A61D-9B44-917F-5B3F9427202F}" dt="2025-02-07T17:48:48.888" v="1340" actId="729"/>
        <pc:sldMkLst>
          <pc:docMk/>
          <pc:sldMk cId="2520700039" sldId="2147481515"/>
        </pc:sldMkLst>
      </pc:sldChg>
      <pc:sldChg chg="del">
        <pc:chgData name="Jauhar, Mehar (A&amp;F)" userId="6b184fc0-f80d-46ab-a4ba-4a5755ad07a6" providerId="ADAL" clId="{B81E14FF-A61D-9B44-917F-5B3F9427202F}" dt="2025-02-07T17:27:47.766" v="1262" actId="2696"/>
        <pc:sldMkLst>
          <pc:docMk/>
          <pc:sldMk cId="1873434868" sldId="2147481521"/>
        </pc:sldMkLst>
      </pc:sldChg>
      <pc:sldChg chg="add addCm modCm">
        <pc:chgData name="Jauhar, Mehar (A&amp;F)" userId="6b184fc0-f80d-46ab-a4ba-4a5755ad07a6" providerId="ADAL" clId="{B81E14FF-A61D-9B44-917F-5B3F9427202F}" dt="2025-02-07T17:49:19.946" v="1344"/>
        <pc:sldMkLst>
          <pc:docMk/>
          <pc:sldMk cId="746616314" sldId="214748152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07T17:49:19.946" v="1344"/>
              <pc2:cmMkLst xmlns:pc2="http://schemas.microsoft.com/office/powerpoint/2019/9/main/command">
                <pc:docMk/>
                <pc:sldMk cId="746616314" sldId="2147481523"/>
                <pc2:cmMk id="{F54EDDA4-D70B-AE4C-82B3-753A8E49F652}"/>
              </pc2:cmMkLst>
              <pc226:cmRplyChg chg="add">
                <pc226:chgData name="Jauhar, Mehar (A&amp;F)" userId="6b184fc0-f80d-46ab-a4ba-4a5755ad07a6" providerId="ADAL" clId="{B81E14FF-A61D-9B44-917F-5B3F9427202F}" dt="2025-02-07T17:49:19.946" v="1344"/>
                <pc2:cmRplyMkLst xmlns:pc2="http://schemas.microsoft.com/office/powerpoint/2019/9/main/command">
                  <pc:docMk/>
                  <pc:sldMk cId="746616314" sldId="2147481523"/>
                  <pc2:cmMk id="{F54EDDA4-D70B-AE4C-82B3-753A8E49F652}"/>
                  <pc2:cmRplyMk id="{6A054CDD-6152-F34E-AB52-676FBF89CB7C}"/>
                </pc2:cmRplyMkLst>
              </pc226:cmRplyChg>
            </pc226:cmChg>
          </p:ext>
        </pc:extLst>
      </pc:sldChg>
      <pc:sldChg chg="del">
        <pc:chgData name="Jauhar, Mehar (A&amp;F)" userId="6b184fc0-f80d-46ab-a4ba-4a5755ad07a6" providerId="ADAL" clId="{B81E14FF-A61D-9B44-917F-5B3F9427202F}" dt="2025-02-07T17:27:27.300" v="1256" actId="2696"/>
        <pc:sldMkLst>
          <pc:docMk/>
          <pc:sldMk cId="3607985382" sldId="2147481523"/>
        </pc:sldMkLst>
      </pc:sldChg>
      <pc:sldChg chg="del">
        <pc:chgData name="Jauhar, Mehar (A&amp;F)" userId="6b184fc0-f80d-46ab-a4ba-4a5755ad07a6" providerId="ADAL" clId="{B81E14FF-A61D-9B44-917F-5B3F9427202F}" dt="2025-02-07T17:27:49.530" v="1263" actId="2696"/>
        <pc:sldMkLst>
          <pc:docMk/>
          <pc:sldMk cId="455469344" sldId="2147481524"/>
        </pc:sldMkLst>
      </pc:sldChg>
      <pc:sldChg chg="del">
        <pc:chgData name="Jauhar, Mehar (A&amp;F)" userId="6b184fc0-f80d-46ab-a4ba-4a5755ad07a6" providerId="ADAL" clId="{B81E14FF-A61D-9B44-917F-5B3F9427202F}" dt="2025-02-06T23:17:10.537" v="265" actId="2696"/>
        <pc:sldMkLst>
          <pc:docMk/>
          <pc:sldMk cId="2793068530" sldId="2147481525"/>
        </pc:sldMkLst>
      </pc:sldChg>
      <pc:sldChg chg="del">
        <pc:chgData name="Jauhar, Mehar (A&amp;F)" userId="6b184fc0-f80d-46ab-a4ba-4a5755ad07a6" providerId="ADAL" clId="{B81E14FF-A61D-9B44-917F-5B3F9427202F}" dt="2025-02-06T23:13:50.283" v="85" actId="2696"/>
        <pc:sldMkLst>
          <pc:docMk/>
          <pc:sldMk cId="700935998" sldId="2147481526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23705109" sldId="2147481527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1057958741" sldId="2147481527"/>
        </pc:sldMkLst>
      </pc:sldChg>
      <pc:sldChg chg="modSp add mod">
        <pc:chgData name="Jauhar, Mehar (A&amp;F)" userId="6b184fc0-f80d-46ab-a4ba-4a5755ad07a6" providerId="ADAL" clId="{B81E14FF-A61D-9B44-917F-5B3F9427202F}" dt="2025-02-07T21:12:28.176" v="2697" actId="20577"/>
        <pc:sldMkLst>
          <pc:docMk/>
          <pc:sldMk cId="1721034712" sldId="2147481527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3097718036" sldId="2147481527"/>
        </pc:sldMkLst>
      </pc:sldChg>
      <pc:sldChg chg="del">
        <pc:chgData name="Jauhar, Mehar (A&amp;F)" userId="6b184fc0-f80d-46ab-a4ba-4a5755ad07a6" providerId="ADAL" clId="{B81E14FF-A61D-9B44-917F-5B3F9427202F}" dt="2025-02-07T17:28:01.138" v="1264" actId="2696"/>
        <pc:sldMkLst>
          <pc:docMk/>
          <pc:sldMk cId="4059754975" sldId="2147481528"/>
        </pc:sldMkLst>
      </pc:sldChg>
      <pc:sldChg chg="add del">
        <pc:chgData name="Jauhar, Mehar (A&amp;F)" userId="6b184fc0-f80d-46ab-a4ba-4a5755ad07a6" providerId="ADAL" clId="{B81E14FF-A61D-9B44-917F-5B3F9427202F}" dt="2025-02-07T17:27:41.286" v="1259" actId="2696"/>
        <pc:sldMkLst>
          <pc:docMk/>
          <pc:sldMk cId="412005679" sldId="2147481529"/>
        </pc:sldMkLst>
      </pc:sldChg>
      <pc:sldChg chg="del">
        <pc:chgData name="Jauhar, Mehar (A&amp;F)" userId="6b184fc0-f80d-46ab-a4ba-4a5755ad07a6" providerId="ADAL" clId="{B81E14FF-A61D-9B44-917F-5B3F9427202F}" dt="2025-02-06T23:17:09.647" v="263" actId="2696"/>
        <pc:sldMkLst>
          <pc:docMk/>
          <pc:sldMk cId="3703931231" sldId="2147481530"/>
        </pc:sldMkLst>
      </pc:sldChg>
      <pc:sldChg chg="addSp delSp modSp mod">
        <pc:chgData name="Jauhar, Mehar (A&amp;F)" userId="6b184fc0-f80d-46ab-a4ba-4a5755ad07a6" providerId="ADAL" clId="{B81E14FF-A61D-9B44-917F-5B3F9427202F}" dt="2025-02-11T17:03:29.977" v="3300" actId="1076"/>
        <pc:sldMkLst>
          <pc:docMk/>
          <pc:sldMk cId="2934033854" sldId="2147481531"/>
        </pc:sldMkLst>
      </pc:sldChg>
      <pc:sldChg chg="del">
        <pc:chgData name="Jauhar, Mehar (A&amp;F)" userId="6b184fc0-f80d-46ab-a4ba-4a5755ad07a6" providerId="ADAL" clId="{B81E14FF-A61D-9B44-917F-5B3F9427202F}" dt="2025-02-07T17:27:43.730" v="1260" actId="2696"/>
        <pc:sldMkLst>
          <pc:docMk/>
          <pc:sldMk cId="2743765809" sldId="2147481532"/>
        </pc:sldMkLst>
      </pc:sldChg>
      <pc:sldChg chg="del">
        <pc:chgData name="Jauhar, Mehar (A&amp;F)" userId="6b184fc0-f80d-46ab-a4ba-4a5755ad07a6" providerId="ADAL" clId="{B81E14FF-A61D-9B44-917F-5B3F9427202F}" dt="2025-02-07T17:28:06.095" v="1266" actId="2696"/>
        <pc:sldMkLst>
          <pc:docMk/>
          <pc:sldMk cId="2769691452" sldId="2147481533"/>
        </pc:sldMkLst>
      </pc:sldChg>
      <pc:sldChg chg="del">
        <pc:chgData name="Jauhar, Mehar (A&amp;F)" userId="6b184fc0-f80d-46ab-a4ba-4a5755ad07a6" providerId="ADAL" clId="{B81E14FF-A61D-9B44-917F-5B3F9427202F}" dt="2025-02-07T17:27:37.496" v="1258" actId="2696"/>
        <pc:sldMkLst>
          <pc:docMk/>
          <pc:sldMk cId="3413798818" sldId="2147481534"/>
        </pc:sldMkLst>
      </pc:sldChg>
      <pc:sldChg chg="del">
        <pc:chgData name="Jauhar, Mehar (A&amp;F)" userId="6b184fc0-f80d-46ab-a4ba-4a5755ad07a6" providerId="ADAL" clId="{B81E14FF-A61D-9B44-917F-5B3F9427202F}" dt="2025-02-06T23:13:52.198" v="88" actId="2696"/>
        <pc:sldMkLst>
          <pc:docMk/>
          <pc:sldMk cId="570825826" sldId="2147481535"/>
        </pc:sldMkLst>
      </pc:sldChg>
      <pc:sldChg chg="addSp delSp add del mod ord setBg delDesignElem modShow">
        <pc:chgData name="Jauhar, Mehar (A&amp;F)" userId="6b184fc0-f80d-46ab-a4ba-4a5755ad07a6" providerId="ADAL" clId="{B81E14FF-A61D-9B44-917F-5B3F9427202F}" dt="2025-02-07T17:50:37.262" v="1353" actId="729"/>
        <pc:sldMkLst>
          <pc:docMk/>
          <pc:sldMk cId="1499155871" sldId="2147481536"/>
        </pc:sldMkLst>
      </pc:sldChg>
      <pc:sldChg chg="add">
        <pc:chgData name="Jauhar, Mehar (A&amp;F)" userId="6b184fc0-f80d-46ab-a4ba-4a5755ad07a6" providerId="ADAL" clId="{B81E14FF-A61D-9B44-917F-5B3F9427202F}" dt="2025-02-06T23:13:39.575" v="84"/>
        <pc:sldMkLst>
          <pc:docMk/>
          <pc:sldMk cId="1693578734" sldId="2147481538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513646351" sldId="2147481538"/>
        </pc:sldMkLst>
      </pc:sldChg>
      <pc:sldChg chg="add">
        <pc:chgData name="Jauhar, Mehar (A&amp;F)" userId="6b184fc0-f80d-46ab-a4ba-4a5755ad07a6" providerId="ADAL" clId="{B81E14FF-A61D-9B44-917F-5B3F9427202F}" dt="2025-02-06T23:13:39.575" v="84"/>
        <pc:sldMkLst>
          <pc:docMk/>
          <pc:sldMk cId="1423385475" sldId="2147481539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117682038" sldId="2147481539"/>
        </pc:sldMkLst>
      </pc:sldChg>
      <pc:sldChg chg="modSp add mod">
        <pc:chgData name="Jauhar, Mehar (A&amp;F)" userId="6b184fc0-f80d-46ab-a4ba-4a5755ad07a6" providerId="ADAL" clId="{B81E14FF-A61D-9B44-917F-5B3F9427202F}" dt="2025-02-06T23:21:38.806" v="426" actId="20577"/>
        <pc:sldMkLst>
          <pc:docMk/>
          <pc:sldMk cId="1363718648" sldId="2147481540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732374620" sldId="2147481540"/>
        </pc:sldMkLst>
      </pc:sldChg>
      <pc:sldChg chg="modSp add del mod ord modNotesTx">
        <pc:chgData name="Jauhar, Mehar (A&amp;F)" userId="6b184fc0-f80d-46ab-a4ba-4a5755ad07a6" providerId="ADAL" clId="{B81E14FF-A61D-9B44-917F-5B3F9427202F}" dt="2025-02-07T16:47:20.474" v="647" actId="20578"/>
        <pc:sldMkLst>
          <pc:docMk/>
          <pc:sldMk cId="2733478352" sldId="2147481541"/>
        </pc:sldMkLst>
      </pc:sldChg>
      <pc:sldChg chg="modSp add mod ord">
        <pc:chgData name="Jauhar, Mehar (A&amp;F)" userId="6b184fc0-f80d-46ab-a4ba-4a5755ad07a6" providerId="ADAL" clId="{B81E14FF-A61D-9B44-917F-5B3F9427202F}" dt="2025-02-07T16:49:08.107" v="688" actId="13926"/>
        <pc:sldMkLst>
          <pc:docMk/>
          <pc:sldMk cId="719758237" sldId="2147481542"/>
        </pc:sldMkLst>
      </pc:sldChg>
      <pc:sldChg chg="modSp add mod ord modCm">
        <pc:chgData name="Jauhar, Mehar (A&amp;F)" userId="6b184fc0-f80d-46ab-a4ba-4a5755ad07a6" providerId="ADAL" clId="{B81E14FF-A61D-9B44-917F-5B3F9427202F}" dt="2025-02-11T00:40:44.155" v="3280"/>
        <pc:sldMkLst>
          <pc:docMk/>
          <pc:sldMk cId="3279986888" sldId="214748154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11T00:40:44.155" v="3280"/>
              <pc2:cmMkLst xmlns:pc2="http://schemas.microsoft.com/office/powerpoint/2019/9/main/command">
                <pc:docMk/>
                <pc:sldMk cId="3279986888" sldId="2147481543"/>
                <pc2:cmMk id="{DE2F2DBB-9619-44ED-8960-EE2B5EBB28EB}"/>
              </pc2:cmMkLst>
              <pc226:cmRplyChg chg="add">
                <pc226:chgData name="Jauhar, Mehar (A&amp;F)" userId="6b184fc0-f80d-46ab-a4ba-4a5755ad07a6" providerId="ADAL" clId="{B81E14FF-A61D-9B44-917F-5B3F9427202F}" dt="2025-02-11T00:40:44.155" v="3280"/>
                <pc2:cmRplyMkLst xmlns:pc2="http://schemas.microsoft.com/office/powerpoint/2019/9/main/command">
                  <pc:docMk/>
                  <pc:sldMk cId="3279986888" sldId="2147481543"/>
                  <pc2:cmMk id="{DE2F2DBB-9619-44ED-8960-EE2B5EBB28EB}"/>
                  <pc2:cmRplyMk id="{8AE9D8DA-EBC0-B14B-9676-845D443A69AE}"/>
                </pc2:cmRplyMkLst>
              </pc226:cmRplyChg>
            </pc226:cmChg>
          </p:ext>
        </pc:extLst>
      </pc:sldChg>
      <pc:sldChg chg="addSp delSp modSp add mod">
        <pc:chgData name="Jauhar, Mehar (A&amp;F)" userId="6b184fc0-f80d-46ab-a4ba-4a5755ad07a6" providerId="ADAL" clId="{B81E14FF-A61D-9B44-917F-5B3F9427202F}" dt="2025-02-07T21:53:40.096" v="3163" actId="1076"/>
        <pc:sldMkLst>
          <pc:docMk/>
          <pc:sldMk cId="1703071084" sldId="2147481544"/>
        </pc:sldMkLst>
      </pc:sldChg>
      <pc:sldChg chg="modSp add del mod">
        <pc:chgData name="Jauhar, Mehar (A&amp;F)" userId="6b184fc0-f80d-46ab-a4ba-4a5755ad07a6" providerId="ADAL" clId="{B81E14FF-A61D-9B44-917F-5B3F9427202F}" dt="2025-02-11T00:36:18.900" v="3277" actId="2696"/>
        <pc:sldMkLst>
          <pc:docMk/>
          <pc:sldMk cId="46369682" sldId="2147481545"/>
        </pc:sldMkLst>
      </pc:sldChg>
      <pc:sldChg chg="addSp delSp modSp add del mod setBg">
        <pc:chgData name="Jauhar, Mehar (A&amp;F)" userId="6b184fc0-f80d-46ab-a4ba-4a5755ad07a6" providerId="ADAL" clId="{B81E14FF-A61D-9B44-917F-5B3F9427202F}" dt="2025-02-07T18:10:16.354" v="2208" actId="2696"/>
        <pc:sldMkLst>
          <pc:docMk/>
          <pc:sldMk cId="2946511549" sldId="2147481546"/>
        </pc:sldMkLst>
      </pc:sldChg>
      <pc:sldChg chg="modSp add del mod">
        <pc:chgData name="Jauhar, Mehar (A&amp;F)" userId="6b184fc0-f80d-46ab-a4ba-4a5755ad07a6" providerId="ADAL" clId="{B81E14FF-A61D-9B44-917F-5B3F9427202F}" dt="2025-02-11T16:55:17.540" v="3289" actId="2696"/>
        <pc:sldMkLst>
          <pc:docMk/>
          <pc:sldMk cId="274479942" sldId="2147481547"/>
        </pc:sldMkLst>
      </pc:sldChg>
      <pc:sldChg chg="add del">
        <pc:chgData name="Jauhar, Mehar (A&amp;F)" userId="6b184fc0-f80d-46ab-a4ba-4a5755ad07a6" providerId="ADAL" clId="{B81E14FF-A61D-9B44-917F-5B3F9427202F}" dt="2025-02-06T23:21:44.894" v="428"/>
        <pc:sldMkLst>
          <pc:docMk/>
          <pc:sldMk cId="2261579265" sldId="2147481548"/>
        </pc:sldMkLst>
      </pc:sldChg>
      <pc:sldChg chg="addSp delSp modSp add del mod">
        <pc:chgData name="Jauhar, Mehar (A&amp;F)" userId="6b184fc0-f80d-46ab-a4ba-4a5755ad07a6" providerId="ADAL" clId="{B81E14FF-A61D-9B44-917F-5B3F9427202F}" dt="2025-02-07T17:24:27.676" v="1236" actId="2696"/>
        <pc:sldMkLst>
          <pc:docMk/>
          <pc:sldMk cId="2518039734" sldId="2147481548"/>
        </pc:sldMkLst>
      </pc:sldChg>
      <pc:sldChg chg="modSp add del mod">
        <pc:chgData name="Jauhar, Mehar (A&amp;F)" userId="6b184fc0-f80d-46ab-a4ba-4a5755ad07a6" providerId="ADAL" clId="{B81E14FF-A61D-9B44-917F-5B3F9427202F}" dt="2025-02-07T17:10:52.693" v="769" actId="2696"/>
        <pc:sldMkLst>
          <pc:docMk/>
          <pc:sldMk cId="1226949783" sldId="2147481549"/>
        </pc:sldMkLst>
      </pc:sldChg>
      <pc:sldChg chg="addSp delSp modSp add mod delCm modCm">
        <pc:chgData name="Jauhar, Mehar (A&amp;F)" userId="6b184fc0-f80d-46ab-a4ba-4a5755ad07a6" providerId="ADAL" clId="{B81E14FF-A61D-9B44-917F-5B3F9427202F}" dt="2025-02-11T15:51:22.300" v="3287" actId="20577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Jauhar, Mehar (A&amp;F)" userId="6b184fc0-f80d-46ab-a4ba-4a5755ad07a6" providerId="ADAL" clId="{B81E14FF-A61D-9B44-917F-5B3F9427202F}" dt="2025-02-07T17:15:07.690" v="952"/>
              <pc2:cmMkLst xmlns:pc2="http://schemas.microsoft.com/office/powerpoint/2019/9/main/command">
                <pc:docMk/>
                <pc:sldMk cId="2126720455" sldId="2147481550"/>
                <pc2:cmMk id="{4AA04CBB-910B-E54C-B623-D725F7B24A91}"/>
              </pc2:cmMkLst>
            </pc226:cmChg>
          </p:ext>
        </pc:extLst>
      </pc:sldChg>
      <pc:sldChg chg="addSp delSp modSp add del mod">
        <pc:chgData name="Jauhar, Mehar (A&amp;F)" userId="6b184fc0-f80d-46ab-a4ba-4a5755ad07a6" providerId="ADAL" clId="{B81E14FF-A61D-9B44-917F-5B3F9427202F}" dt="2025-02-07T16:49:23.552" v="690" actId="2696"/>
        <pc:sldMkLst>
          <pc:docMk/>
          <pc:sldMk cId="941841388" sldId="2147483466"/>
        </pc:sldMkLst>
      </pc:sldChg>
      <pc:sldChg chg="addSp delSp modSp add del mod">
        <pc:chgData name="Jauhar, Mehar (A&amp;F)" userId="6b184fc0-f80d-46ab-a4ba-4a5755ad07a6" providerId="ADAL" clId="{B81E14FF-A61D-9B44-917F-5B3F9427202F}" dt="2025-02-07T16:49:25.022" v="691" actId="2696"/>
        <pc:sldMkLst>
          <pc:docMk/>
          <pc:sldMk cId="1718335038" sldId="2147483467"/>
        </pc:sldMkLst>
      </pc:sldChg>
      <pc:sldChg chg="addSp modSp add mod">
        <pc:chgData name="Jauhar, Mehar (A&amp;F)" userId="6b184fc0-f80d-46ab-a4ba-4a5755ad07a6" providerId="ADAL" clId="{B81E14FF-A61D-9B44-917F-5B3F9427202F}" dt="2025-02-07T17:45:23.024" v="1324" actId="1076"/>
        <pc:sldMkLst>
          <pc:docMk/>
          <pc:sldMk cId="2353380868" sldId="2147483468"/>
        </pc:sldMkLst>
      </pc:sldChg>
      <pc:sldChg chg="addSp delSp modSp add del mod">
        <pc:chgData name="Jauhar, Mehar (A&amp;F)" userId="6b184fc0-f80d-46ab-a4ba-4a5755ad07a6" providerId="ADAL" clId="{B81E14FF-A61D-9B44-917F-5B3F9427202F}" dt="2025-02-07T16:49:26.616" v="692" actId="2696"/>
        <pc:sldMkLst>
          <pc:docMk/>
          <pc:sldMk cId="2632304950" sldId="2147483468"/>
        </pc:sldMkLst>
      </pc:sldChg>
      <pc:sldChg chg="add">
        <pc:chgData name="Jauhar, Mehar (A&amp;F)" userId="6b184fc0-f80d-46ab-a4ba-4a5755ad07a6" providerId="ADAL" clId="{B81E14FF-A61D-9B44-917F-5B3F9427202F}" dt="2025-02-07T17:22:20.459" v="1177"/>
        <pc:sldMkLst>
          <pc:docMk/>
          <pc:sldMk cId="2936321618" sldId="2147483469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7T17:24:05.405" v="1235"/>
        <pc:sldMkLst>
          <pc:docMk/>
          <pc:sldMk cId="1751393933" sldId="2147483470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702503550" sldId="2147483471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7T17:25:03.977" v="1241"/>
        <pc:sldMkLst>
          <pc:docMk/>
          <pc:sldMk cId="1057068823" sldId="2147483471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1320583230" sldId="2147483471"/>
        </pc:sldMkLst>
      </pc:sldChg>
      <pc:sldChg chg="add del">
        <pc:chgData name="Jauhar, Mehar (A&amp;F)" userId="6b184fc0-f80d-46ab-a4ba-4a5755ad07a6" providerId="ADAL" clId="{B81E14FF-A61D-9B44-917F-5B3F9427202F}" dt="2025-02-07T17:25:34.317" v="1248" actId="2696"/>
        <pc:sldMkLst>
          <pc:docMk/>
          <pc:sldMk cId="1576051517" sldId="2147483471"/>
        </pc:sldMkLst>
      </pc:sldChg>
      <pc:sldChg chg="add mod modShow">
        <pc:chgData name="Jauhar, Mehar (A&amp;F)" userId="6b184fc0-f80d-46ab-a4ba-4a5755ad07a6" providerId="ADAL" clId="{B81E14FF-A61D-9B44-917F-5B3F9427202F}" dt="2025-02-07T17:48:57.704" v="1343" actId="729"/>
        <pc:sldMkLst>
          <pc:docMk/>
          <pc:sldMk cId="2321386079" sldId="2147483471"/>
        </pc:sldMkLst>
      </pc:sldChg>
      <pc:sldChg chg="add del">
        <pc:chgData name="Jauhar, Mehar (A&amp;F)" userId="6b184fc0-f80d-46ab-a4ba-4a5755ad07a6" providerId="ADAL" clId="{B81E14FF-A61D-9B44-917F-5B3F9427202F}" dt="2025-02-07T17:25:01.049" v="1238"/>
        <pc:sldMkLst>
          <pc:docMk/>
          <pc:sldMk cId="3831898522" sldId="2147483471"/>
        </pc:sldMkLst>
      </pc:sldChg>
      <pc:sldChg chg="modSp add mod">
        <pc:chgData name="Jauhar, Mehar (A&amp;F)" userId="6b184fc0-f80d-46ab-a4ba-4a5755ad07a6" providerId="ADAL" clId="{B81E14FF-A61D-9B44-917F-5B3F9427202F}" dt="2025-02-07T21:11:47.985" v="2685" actId="20577"/>
        <pc:sldMkLst>
          <pc:docMk/>
          <pc:sldMk cId="866654257" sldId="2147483472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2528246415" sldId="2147483472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2675215970" sldId="2147483472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3102759306" sldId="2147483472"/>
        </pc:sldMkLst>
      </pc:sldChg>
      <pc:sldChg chg="add del">
        <pc:chgData name="Jauhar, Mehar (A&amp;F)" userId="6b184fc0-f80d-46ab-a4ba-4a5755ad07a6" providerId="ADAL" clId="{B81E14FF-A61D-9B44-917F-5B3F9427202F}" dt="2025-02-07T17:25:01.049" v="1238"/>
        <pc:sldMkLst>
          <pc:docMk/>
          <pc:sldMk cId="3310871067" sldId="2147483472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2596761292" sldId="2147483477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3371768604" sldId="2147483477"/>
        </pc:sldMkLst>
      </pc:sldChg>
      <pc:sldChg chg="addSp delSp modSp add mod modCm">
        <pc:chgData name="Jauhar, Mehar (A&amp;F)" userId="6b184fc0-f80d-46ab-a4ba-4a5755ad07a6" providerId="ADAL" clId="{B81E14FF-A61D-9B44-917F-5B3F9427202F}" dt="2025-02-07T21:17:07.326" v="2853"/>
        <pc:sldMkLst>
          <pc:docMk/>
          <pc:sldMk cId="3379675862" sldId="214748347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07T21:17:07.326" v="2853"/>
              <pc2:cmMkLst xmlns:pc2="http://schemas.microsoft.com/office/powerpoint/2019/9/main/command">
                <pc:docMk/>
                <pc:sldMk cId="3379675862" sldId="2147483477"/>
                <pc2:cmMk id="{DE0172FE-A3B1-4C32-9947-A5082A6C358C}"/>
              </pc2:cmMkLst>
              <pc226:cmRplyChg chg="add">
                <pc226:chgData name="Jauhar, Mehar (A&amp;F)" userId="6b184fc0-f80d-46ab-a4ba-4a5755ad07a6" providerId="ADAL" clId="{B81E14FF-A61D-9B44-917F-5B3F9427202F}" dt="2025-02-07T21:17:07.326" v="2853"/>
                <pc2:cmRplyMkLst xmlns:pc2="http://schemas.microsoft.com/office/powerpoint/2019/9/main/command">
                  <pc:docMk/>
                  <pc:sldMk cId="3379675862" sldId="2147483477"/>
                  <pc2:cmMk id="{DE0172FE-A3B1-4C32-9947-A5082A6C358C}"/>
                  <pc2:cmRplyMk id="{3484CED7-64BB-CE4B-87A8-32B24428E1F9}"/>
                </pc2:cmRplyMkLst>
              </pc226:cmRplyChg>
            </pc226:cmChg>
          </p:ext>
        </pc:ext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3542442027" sldId="2147483477"/>
        </pc:sldMkLst>
      </pc:sldChg>
      <pc:sldChg chg="modSp add mod">
        <pc:chgData name="Jauhar, Mehar (A&amp;F)" userId="6b184fc0-f80d-46ab-a4ba-4a5755ad07a6" providerId="ADAL" clId="{B81E14FF-A61D-9B44-917F-5B3F9427202F}" dt="2025-02-07T17:25:39.131" v="1249" actId="13926"/>
        <pc:sldMkLst>
          <pc:docMk/>
          <pc:sldMk cId="2732401005" sldId="2147483478"/>
        </pc:sldMkLst>
      </pc:sldChg>
      <pc:sldChg chg="add mod ord modShow">
        <pc:chgData name="Jauhar, Mehar (A&amp;F)" userId="6b184fc0-f80d-46ab-a4ba-4a5755ad07a6" providerId="ADAL" clId="{B81E14FF-A61D-9B44-917F-5B3F9427202F}" dt="2025-02-07T17:48:45.399" v="1339" actId="729"/>
        <pc:sldMkLst>
          <pc:docMk/>
          <pc:sldMk cId="1721683067" sldId="2147483479"/>
        </pc:sldMkLst>
      </pc:sldChg>
      <pc:sldChg chg="add del">
        <pc:chgData name="Jauhar, Mehar (A&amp;F)" userId="6b184fc0-f80d-46ab-a4ba-4a5755ad07a6" providerId="ADAL" clId="{B81E14FF-A61D-9B44-917F-5B3F9427202F}" dt="2025-02-07T17:26:40.149" v="1253"/>
        <pc:sldMkLst>
          <pc:docMk/>
          <pc:sldMk cId="2280511021" sldId="2147483479"/>
        </pc:sldMkLst>
      </pc:sldChg>
      <pc:sldChg chg="add mod modShow">
        <pc:chgData name="Jauhar, Mehar (A&amp;F)" userId="6b184fc0-f80d-46ab-a4ba-4a5755ad07a6" providerId="ADAL" clId="{B81E14FF-A61D-9B44-917F-5B3F9427202F}" dt="2025-02-07T17:48:37.555" v="1337" actId="729"/>
        <pc:sldMkLst>
          <pc:docMk/>
          <pc:sldMk cId="976800554" sldId="2147483480"/>
        </pc:sldMkLst>
      </pc:sldChg>
      <pc:sldChg chg="add mod modShow">
        <pc:chgData name="Jauhar, Mehar (A&amp;F)" userId="6b184fc0-f80d-46ab-a4ba-4a5755ad07a6" providerId="ADAL" clId="{B81E14FF-A61D-9B44-917F-5B3F9427202F}" dt="2025-02-07T17:48:55.353" v="1342" actId="729"/>
        <pc:sldMkLst>
          <pc:docMk/>
          <pc:sldMk cId="1962231768" sldId="2147483481"/>
        </pc:sldMkLst>
      </pc:sldChg>
      <pc:sldChg chg="add mod ord modShow">
        <pc:chgData name="Jauhar, Mehar (A&amp;F)" userId="6b184fc0-f80d-46ab-a4ba-4a5755ad07a6" providerId="ADAL" clId="{B81E14FF-A61D-9B44-917F-5B3F9427202F}" dt="2025-02-07T17:48:42.133" v="1338" actId="729"/>
        <pc:sldMkLst>
          <pc:docMk/>
          <pc:sldMk cId="2185845481" sldId="2147483482"/>
        </pc:sldMkLst>
      </pc:sldChg>
      <pc:sldChg chg="add mod modShow">
        <pc:chgData name="Jauhar, Mehar (A&amp;F)" userId="6b184fc0-f80d-46ab-a4ba-4a5755ad07a6" providerId="ADAL" clId="{B81E14FF-A61D-9B44-917F-5B3F9427202F}" dt="2025-02-07T17:48:51.937" v="1341" actId="729"/>
        <pc:sldMkLst>
          <pc:docMk/>
          <pc:sldMk cId="2801004244" sldId="2147483483"/>
        </pc:sldMkLst>
      </pc:sldChg>
      <pc:sldChg chg="add mod modShow">
        <pc:chgData name="Jauhar, Mehar (A&amp;F)" userId="6b184fc0-f80d-46ab-a4ba-4a5755ad07a6" providerId="ADAL" clId="{B81E14FF-A61D-9B44-917F-5B3F9427202F}" dt="2025-02-07T17:51:27.231" v="1356" actId="729"/>
        <pc:sldMkLst>
          <pc:docMk/>
          <pc:sldMk cId="4205499045" sldId="2147483484"/>
        </pc:sldMkLst>
      </pc:sldChg>
      <pc:sldChg chg="add mod modShow">
        <pc:chgData name="Jauhar, Mehar (A&amp;F)" userId="6b184fc0-f80d-46ab-a4ba-4a5755ad07a6" providerId="ADAL" clId="{B81E14FF-A61D-9B44-917F-5B3F9427202F}" dt="2025-02-07T17:51:29.616" v="1357" actId="729"/>
        <pc:sldMkLst>
          <pc:docMk/>
          <pc:sldMk cId="1192983217" sldId="2147483485"/>
        </pc:sldMkLst>
      </pc:sldChg>
      <pc:sldChg chg="addSp delSp modSp new mod addCm modCm">
        <pc:chgData name="Jauhar, Mehar (A&amp;F)" userId="6b184fc0-f80d-46ab-a4ba-4a5755ad07a6" providerId="ADAL" clId="{B81E14FF-A61D-9B44-917F-5B3F9427202F}" dt="2025-02-10T20:34:50.101" v="3271" actId="20577"/>
        <pc:sldMkLst>
          <pc:docMk/>
          <pc:sldMk cId="1741467460" sldId="214748348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B81E14FF-A61D-9B44-917F-5B3F9427202F}" dt="2025-02-07T18:18:46.454" v="2309"/>
              <pc2:cmMkLst xmlns:pc2="http://schemas.microsoft.com/office/powerpoint/2019/9/main/command">
                <pc:docMk/>
                <pc:sldMk cId="1741467460" sldId="2147483486"/>
                <pc2:cmMk id="{8EE5D94C-8537-6C4D-84C3-FCC854C67B53}"/>
              </pc2:cmMkLst>
            </pc226:cmChg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10T20:34:50.101" v="3271" actId="20577"/>
              <pc2:cmMkLst xmlns:pc2="http://schemas.microsoft.com/office/powerpoint/2019/9/main/command">
                <pc:docMk/>
                <pc:sldMk cId="1741467460" sldId="2147483486"/>
                <pc2:cmMk id="{B53EFA4F-E9B3-3946-AFC0-E05CEFB9288B}"/>
              </pc2:cmMkLst>
              <pc226:cmRplyChg chg="add">
                <pc226:chgData name="Jauhar, Mehar (A&amp;F)" userId="6b184fc0-f80d-46ab-a4ba-4a5755ad07a6" providerId="ADAL" clId="{B81E14FF-A61D-9B44-917F-5B3F9427202F}" dt="2025-02-07T18:15:39.473" v="2305"/>
                <pc2:cmRplyMkLst xmlns:pc2="http://schemas.microsoft.com/office/powerpoint/2019/9/main/command">
                  <pc:docMk/>
                  <pc:sldMk cId="1741467460" sldId="2147483486"/>
                  <pc2:cmMk id="{B53EFA4F-E9B3-3946-AFC0-E05CEFB9288B}"/>
                  <pc2:cmRplyMk id="{FEE178E5-3822-9743-824A-97FB59062D13}"/>
                </pc2:cmRplyMkLst>
              </pc226:cmRplyChg>
            </pc226:cmChg>
          </p:ext>
        </pc:extLst>
      </pc:sldChg>
      <pc:sldChg chg="modSp add mod modCm">
        <pc:chgData name="Jauhar, Mehar (A&amp;F)" userId="6b184fc0-f80d-46ab-a4ba-4a5755ad07a6" providerId="ADAL" clId="{B81E14FF-A61D-9B44-917F-5B3F9427202F}" dt="2025-02-07T21:17:17.794" v="2854"/>
        <pc:sldMkLst>
          <pc:docMk/>
          <pc:sldMk cId="3830842327" sldId="214748348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07T21:17:17.794" v="2854"/>
              <pc2:cmMkLst xmlns:pc2="http://schemas.microsoft.com/office/powerpoint/2019/9/main/command">
                <pc:docMk/>
                <pc:sldMk cId="3830842327" sldId="2147483487"/>
                <pc2:cmMk id="{D1136DEC-394B-E74E-ADF8-2FB113583835}"/>
              </pc2:cmMkLst>
              <pc226:cmRplyChg chg="add">
                <pc226:chgData name="Jauhar, Mehar (A&amp;F)" userId="6b184fc0-f80d-46ab-a4ba-4a5755ad07a6" providerId="ADAL" clId="{B81E14FF-A61D-9B44-917F-5B3F9427202F}" dt="2025-02-07T21:17:17.794" v="2854"/>
                <pc2:cmRplyMkLst xmlns:pc2="http://schemas.microsoft.com/office/powerpoint/2019/9/main/command">
                  <pc:docMk/>
                  <pc:sldMk cId="3830842327" sldId="2147483487"/>
                  <pc2:cmMk id="{D1136DEC-394B-E74E-ADF8-2FB113583835}"/>
                  <pc2:cmRplyMk id="{77EF9789-0CB0-C840-82B0-7AD76F208FAD}"/>
                </pc2:cmRplyMkLst>
              </pc226:cmRplyChg>
            </pc226:cmChg>
          </p:ext>
        </pc:ext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781811713" sldId="2147483488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887881709" sldId="2147483489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43442826" sldId="2147483490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0" sldId="2147483491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976025070" sldId="2147483492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822034790" sldId="214748349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047586213" sldId="2147483494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3239282385" sldId="2147483497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1704429902" sldId="2147483498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4264695963" sldId="2147483499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3262372940" sldId="2147483500"/>
        </pc:sldMkLst>
      </pc:sldChg>
    </pc:docChg>
  </pc:docChgLst>
  <pc:docChgLst>
    <pc:chgData name="Strain, Mallory (A&amp;F)" userId="S::mallory.strain@mass.gov::7f2f9c2c-98ee-44e6-afe8-8ea6a9111392" providerId="AD" clId="Web-{D052A62C-9515-8E1F-CF40-A81A5739C128}"/>
    <pc:docChg chg="modSld">
      <pc:chgData name="Strain, Mallory (A&amp;F)" userId="S::mallory.strain@mass.gov::7f2f9c2c-98ee-44e6-afe8-8ea6a9111392" providerId="AD" clId="Web-{D052A62C-9515-8E1F-CF40-A81A5739C128}" dt="2025-03-04T17:01:35.315" v="93" actId="20577"/>
      <pc:docMkLst>
        <pc:docMk/>
      </pc:docMkLst>
      <pc:sldChg chg="modSp modCm">
        <pc:chgData name="Strain, Mallory (A&amp;F)" userId="S::mallory.strain@mass.gov::7f2f9c2c-98ee-44e6-afe8-8ea6a9111392" providerId="AD" clId="Web-{D052A62C-9515-8E1F-CF40-A81A5739C128}" dt="2025-03-04T17:01:35.315" v="93" actId="20577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D052A62C-9515-8E1F-CF40-A81A5739C128}" dt="2025-03-04T16:47:53.869" v="92" actId="20577"/>
              <pc2:cmMkLst xmlns:pc2="http://schemas.microsoft.com/office/powerpoint/2019/9/main/command">
                <pc:docMk/>
                <pc:sldMk cId="1561720608" sldId="2147481257"/>
                <pc2:cmMk id="{92A8A05D-C1E1-E24E-B1EF-382D77CBF9BB}"/>
              </pc2:cmMkLst>
            </pc226:cmChg>
          </p:ext>
        </pc:extLst>
      </pc:sldChg>
    </pc:docChg>
  </pc:docChgLst>
  <pc:docChgLst>
    <pc:chgData name="Jauhar, Mehar (A&amp;F)" userId="S::mehar.jauhar@mass.gov::6b184fc0-f80d-46ab-a4ba-4a5755ad07a6" providerId="AD" clId="Web-{0BF3E6C0-1D51-008A-9EE9-64782BF8B7F7}"/>
    <pc:docChg chg="mod">
      <pc:chgData name="Jauhar, Mehar (A&amp;F)" userId="S::mehar.jauhar@mass.gov::6b184fc0-f80d-46ab-a4ba-4a5755ad07a6" providerId="AD" clId="Web-{0BF3E6C0-1D51-008A-9EE9-64782BF8B7F7}" dt="2025-02-11T00:34:28.423" v="0"/>
      <pc:docMkLst>
        <pc:docMk/>
      </pc:docMkLst>
    </pc:docChg>
  </pc:docChgLst>
  <pc:docChgLst>
    <pc:chgData name="Strain, Mallory (A&amp;F)" userId="7f2f9c2c-98ee-44e6-afe8-8ea6a9111392" providerId="ADAL" clId="{0BB04384-81D1-4B41-9B86-C6A52C40B2CD}"/>
    <pc:docChg chg="custSel addSld delSld modSld sldOrd">
      <pc:chgData name="Strain, Mallory (A&amp;F)" userId="7f2f9c2c-98ee-44e6-afe8-8ea6a9111392" providerId="ADAL" clId="{0BB04384-81D1-4B41-9B86-C6A52C40B2CD}" dt="2025-03-05T11:42:45.555" v="64" actId="20577"/>
      <pc:docMkLst>
        <pc:docMk/>
      </pc:docMkLst>
      <pc:sldChg chg="del">
        <pc:chgData name="Strain, Mallory (A&amp;F)" userId="7f2f9c2c-98ee-44e6-afe8-8ea6a9111392" providerId="ADAL" clId="{0BB04384-81D1-4B41-9B86-C6A52C40B2CD}" dt="2025-03-05T11:41:12.180" v="10" actId="2696"/>
        <pc:sldMkLst>
          <pc:docMk/>
          <pc:sldMk cId="1645729307" sldId="275"/>
        </pc:sldMkLst>
      </pc:sldChg>
      <pc:sldChg chg="add">
        <pc:chgData name="Strain, Mallory (A&amp;F)" userId="7f2f9c2c-98ee-44e6-afe8-8ea6a9111392" providerId="ADAL" clId="{0BB04384-81D1-4B41-9B86-C6A52C40B2CD}" dt="2025-03-05T11:35:07.416" v="0"/>
        <pc:sldMkLst>
          <pc:docMk/>
          <pc:sldMk cId="622504770" sldId="301"/>
        </pc:sldMkLst>
      </pc:sldChg>
      <pc:sldChg chg="add">
        <pc:chgData name="Strain, Mallory (A&amp;F)" userId="7f2f9c2c-98ee-44e6-afe8-8ea6a9111392" providerId="ADAL" clId="{0BB04384-81D1-4B41-9B86-C6A52C40B2CD}" dt="2025-03-05T11:35:27.015" v="2"/>
        <pc:sldMkLst>
          <pc:docMk/>
          <pc:sldMk cId="2493315587" sldId="4325"/>
        </pc:sldMkLst>
      </pc:sldChg>
      <pc:sldChg chg="add">
        <pc:chgData name="Strain, Mallory (A&amp;F)" userId="7f2f9c2c-98ee-44e6-afe8-8ea6a9111392" providerId="ADAL" clId="{0BB04384-81D1-4B41-9B86-C6A52C40B2CD}" dt="2025-03-05T11:35:25.846" v="1"/>
        <pc:sldMkLst>
          <pc:docMk/>
          <pc:sldMk cId="3276779293" sldId="4327"/>
        </pc:sldMkLst>
      </pc:sldChg>
      <pc:sldChg chg="add">
        <pc:chgData name="Strain, Mallory (A&amp;F)" userId="7f2f9c2c-98ee-44e6-afe8-8ea6a9111392" providerId="ADAL" clId="{0BB04384-81D1-4B41-9B86-C6A52C40B2CD}" dt="2025-03-05T11:35:30.988" v="4"/>
        <pc:sldMkLst>
          <pc:docMk/>
          <pc:sldMk cId="3159138890" sldId="4354"/>
        </pc:sldMkLst>
      </pc:sldChg>
      <pc:sldChg chg="add">
        <pc:chgData name="Strain, Mallory (A&amp;F)" userId="7f2f9c2c-98ee-44e6-afe8-8ea6a9111392" providerId="ADAL" clId="{0BB04384-81D1-4B41-9B86-C6A52C40B2CD}" dt="2025-03-05T11:35:33.021" v="5"/>
        <pc:sldMkLst>
          <pc:docMk/>
          <pc:sldMk cId="2110329904" sldId="4355"/>
        </pc:sldMkLst>
      </pc:sldChg>
      <pc:sldChg chg="add">
        <pc:chgData name="Strain, Mallory (A&amp;F)" userId="7f2f9c2c-98ee-44e6-afe8-8ea6a9111392" providerId="ADAL" clId="{0BB04384-81D1-4B41-9B86-C6A52C40B2CD}" dt="2025-03-05T11:35:29.074" v="3"/>
        <pc:sldMkLst>
          <pc:docMk/>
          <pc:sldMk cId="3451034618" sldId="4357"/>
        </pc:sldMkLst>
      </pc:sldChg>
      <pc:sldChg chg="add">
        <pc:chgData name="Strain, Mallory (A&amp;F)" userId="7f2f9c2c-98ee-44e6-afe8-8ea6a9111392" providerId="ADAL" clId="{0BB04384-81D1-4B41-9B86-C6A52C40B2CD}" dt="2025-03-05T11:35:34.439" v="6"/>
        <pc:sldMkLst>
          <pc:docMk/>
          <pc:sldMk cId="1036064627" sldId="4359"/>
        </pc:sldMkLst>
      </pc:sldChg>
      <pc:sldChg chg="modSp add mod">
        <pc:chgData name="Strain, Mallory (A&amp;F)" userId="7f2f9c2c-98ee-44e6-afe8-8ea6a9111392" providerId="ADAL" clId="{0BB04384-81D1-4B41-9B86-C6A52C40B2CD}" dt="2025-03-05T11:35:36.787" v="8" actId="27636"/>
        <pc:sldMkLst>
          <pc:docMk/>
          <pc:sldMk cId="2021130791" sldId="4360"/>
        </pc:sldMkLst>
      </pc:sldChg>
      <pc:sldChg chg="modSp mod">
        <pc:chgData name="Strain, Mallory (A&amp;F)" userId="7f2f9c2c-98ee-44e6-afe8-8ea6a9111392" providerId="ADAL" clId="{0BB04384-81D1-4B41-9B86-C6A52C40B2CD}" dt="2025-03-05T11:42:45.555" v="64" actId="20577"/>
        <pc:sldMkLst>
          <pc:docMk/>
          <pc:sldMk cId="2934033854" sldId="2147481531"/>
        </pc:sldMkLst>
      </pc:sldChg>
      <pc:sldChg chg="ord">
        <pc:chgData name="Strain, Mallory (A&amp;F)" userId="7f2f9c2c-98ee-44e6-afe8-8ea6a9111392" providerId="ADAL" clId="{0BB04384-81D1-4B41-9B86-C6A52C40B2CD}" dt="2025-03-05T11:41:56.734" v="12"/>
        <pc:sldMkLst>
          <pc:docMk/>
          <pc:sldMk cId="719758237" sldId="2147481542"/>
        </pc:sldMkLst>
      </pc:sldChg>
      <pc:sldChg chg="del">
        <pc:chgData name="Strain, Mallory (A&amp;F)" userId="7f2f9c2c-98ee-44e6-afe8-8ea6a9111392" providerId="ADAL" clId="{0BB04384-81D1-4B41-9B86-C6A52C40B2CD}" dt="2025-03-05T11:35:46.749" v="9" actId="47"/>
        <pc:sldMkLst>
          <pc:docMk/>
          <pc:sldMk cId="3479559200" sldId="2147483501"/>
        </pc:sldMkLst>
      </pc:sldChg>
    </pc:docChg>
  </pc:docChgLst>
  <pc:docChgLst>
    <pc:chgData name="Leonarte Paredes, Micaela (A&amp;F)" userId="9dd405bc-2413-4d02-bb30-9534b8884de8" providerId="ADAL" clId="{9EBDD695-6D63-49A3-9B04-63BA82DCEBD1}"/>
    <pc:docChg chg="undo custSel modSld">
      <pc:chgData name="Leonarte Paredes, Micaela (A&amp;F)" userId="9dd405bc-2413-4d02-bb30-9534b8884de8" providerId="ADAL" clId="{9EBDD695-6D63-49A3-9B04-63BA82DCEBD1}" dt="2025-02-26T17:24:33.901" v="10" actId="313"/>
      <pc:docMkLst>
        <pc:docMk/>
      </pc:docMkLst>
      <pc:sldChg chg="mod modShow">
        <pc:chgData name="Leonarte Paredes, Micaela (A&amp;F)" userId="9dd405bc-2413-4d02-bb30-9534b8884de8" providerId="ADAL" clId="{9EBDD695-6D63-49A3-9B04-63BA82DCEBD1}" dt="2025-02-07T18:19:36.781" v="0" actId="729"/>
        <pc:sldMkLst>
          <pc:docMk/>
          <pc:sldMk cId="746616314" sldId="2147481523"/>
        </pc:sldMkLst>
      </pc:sldChg>
      <pc:sldChg chg="modSp mod">
        <pc:chgData name="Leonarte Paredes, Micaela (A&amp;F)" userId="9dd405bc-2413-4d02-bb30-9534b8884de8" providerId="ADAL" clId="{9EBDD695-6D63-49A3-9B04-63BA82DCEBD1}" dt="2025-02-26T17:24:33.901" v="10" actId="313"/>
        <pc:sldMkLst>
          <pc:docMk/>
          <pc:sldMk cId="3379675862" sldId="2147483477"/>
        </pc:sldMkLst>
      </pc:sldChg>
      <pc:sldChg chg="modSp mod">
        <pc:chgData name="Leonarte Paredes, Micaela (A&amp;F)" userId="9dd405bc-2413-4d02-bb30-9534b8884de8" providerId="ADAL" clId="{9EBDD695-6D63-49A3-9B04-63BA82DCEBD1}" dt="2025-02-11T21:35:07.823" v="8" actId="2164"/>
        <pc:sldMkLst>
          <pc:docMk/>
          <pc:sldMk cId="3830842327" sldId="2147483487"/>
        </pc:sldMkLst>
      </pc:sldChg>
    </pc:docChg>
  </pc:docChgLst>
  <pc:docChgLst>
    <pc:chgData name="Strain, Mallory (A&amp;F)" userId="S::mallory.strain@mass.gov::7f2f9c2c-98ee-44e6-afe8-8ea6a9111392" providerId="AD" clId="Web-{100DD5B0-47C1-9938-3862-F1F9470727D8}"/>
    <pc:docChg chg="delSld">
      <pc:chgData name="Strain, Mallory (A&amp;F)" userId="S::mallory.strain@mass.gov::7f2f9c2c-98ee-44e6-afe8-8ea6a9111392" providerId="AD" clId="Web-{100DD5B0-47C1-9938-3862-F1F9470727D8}" dt="2025-03-06T17:02:05.681" v="0"/>
      <pc:docMkLst>
        <pc:docMk/>
      </pc:docMkLst>
      <pc:sldChg chg="del">
        <pc:chgData name="Strain, Mallory (A&amp;F)" userId="S::mallory.strain@mass.gov::7f2f9c2c-98ee-44e6-afe8-8ea6a9111392" providerId="AD" clId="Web-{100DD5B0-47C1-9938-3862-F1F9470727D8}" dt="2025-03-06T17:02:05.681" v="0"/>
        <pc:sldMkLst>
          <pc:docMk/>
          <pc:sldMk cId="4264695963" sldId="2147483499"/>
        </pc:sldMkLst>
      </pc:sldChg>
    </pc:docChg>
  </pc:docChgLst>
  <pc:docChgLst>
    <pc:chgData name="Leonarte Paredes, Micaela (A&amp;F)" userId="S::micaela.leonarteparedes@mass.gov::9dd405bc-2413-4d02-bb30-9534b8884de8" providerId="AD" clId="Web-{554F84E8-79B6-EEFC-DB96-C2D827E9F8CD}"/>
    <pc:docChg chg="addSld delSld modSld">
      <pc:chgData name="Leonarte Paredes, Micaela (A&amp;F)" userId="S::micaela.leonarteparedes@mass.gov::9dd405bc-2413-4d02-bb30-9534b8884de8" providerId="AD" clId="Web-{554F84E8-79B6-EEFC-DB96-C2D827E9F8CD}" dt="2025-05-20T18:01:22.212" v="19" actId="14100"/>
      <pc:docMkLst>
        <pc:docMk/>
      </pc:docMkLst>
      <pc:sldChg chg="addSp delSp modSp">
        <pc:chgData name="Leonarte Paredes, Micaela (A&amp;F)" userId="S::micaela.leonarteparedes@mass.gov::9dd405bc-2413-4d02-bb30-9534b8884de8" providerId="AD" clId="Web-{554F84E8-79B6-EEFC-DB96-C2D827E9F8CD}" dt="2025-05-20T18:00:38.321" v="7"/>
        <pc:sldMkLst>
          <pc:docMk/>
          <pc:sldMk cId="2459882351" sldId="2147483534"/>
        </pc:sldMkLst>
      </pc:sldChg>
      <pc:sldChg chg="addSp delSp modSp new">
        <pc:chgData name="Leonarte Paredes, Micaela (A&amp;F)" userId="S::micaela.leonarteparedes@mass.gov::9dd405bc-2413-4d02-bb30-9534b8884de8" providerId="AD" clId="Web-{554F84E8-79B6-EEFC-DB96-C2D827E9F8CD}" dt="2025-05-20T18:00:58.337" v="12" actId="14100"/>
        <pc:sldMkLst>
          <pc:docMk/>
          <pc:sldMk cId="45065135" sldId="2147483537"/>
        </pc:sldMkLst>
      </pc:sldChg>
      <pc:sldChg chg="addSp delSp modSp new del">
        <pc:chgData name="Leonarte Paredes, Micaela (A&amp;F)" userId="S::micaela.leonarteparedes@mass.gov::9dd405bc-2413-4d02-bb30-9534b8884de8" providerId="AD" clId="Web-{554F84E8-79B6-EEFC-DB96-C2D827E9F8CD}" dt="2025-05-20T18:00:28.056" v="5"/>
        <pc:sldMkLst>
          <pc:docMk/>
          <pc:sldMk cId="871469694" sldId="2147483537"/>
        </pc:sldMkLst>
      </pc:sldChg>
      <pc:sldChg chg="addSp delSp modSp new">
        <pc:chgData name="Leonarte Paredes, Micaela (A&amp;F)" userId="S::micaela.leonarteparedes@mass.gov::9dd405bc-2413-4d02-bb30-9534b8884de8" providerId="AD" clId="Web-{554F84E8-79B6-EEFC-DB96-C2D827E9F8CD}" dt="2025-05-20T18:01:22.212" v="19" actId="14100"/>
        <pc:sldMkLst>
          <pc:docMk/>
          <pc:sldMk cId="333040484" sldId="2147483538"/>
        </pc:sldMkLst>
      </pc:sldChg>
    </pc:docChg>
  </pc:docChgLst>
  <pc:docChgLst>
    <pc:chgData name="Leonarte Paredes, Micaela (A&amp;F)" userId="S::micaela.leonarteparedes@mass.gov::9dd405bc-2413-4d02-bb30-9534b8884de8" providerId="AD" clId="Web-{2120900F-B12A-3044-1614-E0C193BF2198}"/>
    <pc:docChg chg="modSld sldOrd">
      <pc:chgData name="Leonarte Paredes, Micaela (A&amp;F)" userId="S::micaela.leonarteparedes@mass.gov::9dd405bc-2413-4d02-bb30-9534b8884de8" providerId="AD" clId="Web-{2120900F-B12A-3044-1614-E0C193BF2198}" dt="2025-06-03T15:03:23.760" v="211"/>
      <pc:docMkLst>
        <pc:docMk/>
      </pc:docMkLst>
      <pc:sldChg chg="modSp modCm">
        <pc:chgData name="Leonarte Paredes, Micaela (A&amp;F)" userId="S::micaela.leonarteparedes@mass.gov::9dd405bc-2413-4d02-bb30-9534b8884de8" providerId="AD" clId="Web-{2120900F-B12A-3044-1614-E0C193BF2198}" dt="2025-06-03T15:02:10.322" v="167" actId="20577"/>
        <pc:sldMkLst>
          <pc:docMk/>
          <pc:sldMk cId="927177935" sldId="2147483527"/>
        </pc:sldMkLst>
        <pc:spChg chg="mod">
          <ac:chgData name="Leonarte Paredes, Micaela (A&amp;F)" userId="S::micaela.leonarteparedes@mass.gov::9dd405bc-2413-4d02-bb30-9534b8884de8" providerId="AD" clId="Web-{2120900F-B12A-3044-1614-E0C193BF2198}" dt="2025-06-03T15:02:10.322" v="167" actId="20577"/>
          <ac:spMkLst>
            <pc:docMk/>
            <pc:sldMk cId="927177935" sldId="2147483527"/>
            <ac:spMk id="9" creationId="{8E7F279F-4B22-AE75-6585-699D8D9B4F39}"/>
          </ac:spMkLst>
        </pc:spChg>
        <pc:graphicFrameChg chg="mod modGraphic">
          <ac:chgData name="Leonarte Paredes, Micaela (A&amp;F)" userId="S::micaela.leonarteparedes@mass.gov::9dd405bc-2413-4d02-bb30-9534b8884de8" providerId="AD" clId="Web-{2120900F-B12A-3044-1614-E0C193BF2198}" dt="2025-06-03T14:55:35.181" v="91"/>
          <ac:graphicFrameMkLst>
            <pc:docMk/>
            <pc:sldMk cId="927177935" sldId="2147483527"/>
            <ac:graphicFrameMk id="6" creationId="{4C906486-E95B-F55A-6695-30C3148FF2F2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eonarte Paredes, Micaela (A&amp;F)" userId="S::micaela.leonarteparedes@mass.gov::9dd405bc-2413-4d02-bb30-9534b8884de8" providerId="AD" clId="Web-{2120900F-B12A-3044-1614-E0C193BF2198}" dt="2025-06-03T15:02:10.322" v="167" actId="20577"/>
              <pc2:cmMkLst xmlns:pc2="http://schemas.microsoft.com/office/powerpoint/2019/9/main/command">
                <pc:docMk/>
                <pc:sldMk cId="927177935" sldId="2147483527"/>
                <pc2:cmMk id="{A24318D6-8392-4895-85C1-662D34FE2F9B}"/>
              </pc2:cmMkLst>
            </pc226:cmChg>
          </p:ext>
        </pc:extLst>
      </pc:sldChg>
      <pc:sldChg chg="modSp">
        <pc:chgData name="Leonarte Paredes, Micaela (A&amp;F)" userId="S::micaela.leonarteparedes@mass.gov::9dd405bc-2413-4d02-bb30-9534b8884de8" providerId="AD" clId="Web-{2120900F-B12A-3044-1614-E0C193BF2198}" dt="2025-06-03T15:03:04.697" v="205"/>
        <pc:sldMkLst>
          <pc:docMk/>
          <pc:sldMk cId="2459882351" sldId="2147483534"/>
        </pc:sldMkLst>
        <pc:spChg chg="mod">
          <ac:chgData name="Leonarte Paredes, Micaela (A&amp;F)" userId="S::micaela.leonarteparedes@mass.gov::9dd405bc-2413-4d02-bb30-9534b8884de8" providerId="AD" clId="Web-{2120900F-B12A-3044-1614-E0C193BF2198}" dt="2025-06-03T15:02:26.760" v="182" actId="20577"/>
          <ac:spMkLst>
            <pc:docMk/>
            <pc:sldMk cId="2459882351" sldId="2147483534"/>
            <ac:spMk id="9" creationId="{0B4824B3-E180-B9AC-7866-9D04316AA534}"/>
          </ac:spMkLst>
        </pc:spChg>
        <pc:graphicFrameChg chg="mod modGraphic">
          <ac:chgData name="Leonarte Paredes, Micaela (A&amp;F)" userId="S::micaela.leonarteparedes@mass.gov::9dd405bc-2413-4d02-bb30-9534b8884de8" providerId="AD" clId="Web-{2120900F-B12A-3044-1614-E0C193BF2198}" dt="2025-06-03T15:03:04.697" v="205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  <pc:sldChg chg="modSp ord">
        <pc:chgData name="Leonarte Paredes, Micaela (A&amp;F)" userId="S::micaela.leonarteparedes@mass.gov::9dd405bc-2413-4d02-bb30-9534b8884de8" providerId="AD" clId="Web-{2120900F-B12A-3044-1614-E0C193BF2198}" dt="2025-06-03T15:03:23.760" v="211"/>
        <pc:sldMkLst>
          <pc:docMk/>
          <pc:sldMk cId="3732393151" sldId="2147483540"/>
        </pc:sldMkLst>
        <pc:spChg chg="mod">
          <ac:chgData name="Leonarte Paredes, Micaela (A&amp;F)" userId="S::micaela.leonarteparedes@mass.gov::9dd405bc-2413-4d02-bb30-9534b8884de8" providerId="AD" clId="Web-{2120900F-B12A-3044-1614-E0C193BF2198}" dt="2025-06-03T15:02:56.119" v="190" actId="20577"/>
          <ac:spMkLst>
            <pc:docMk/>
            <pc:sldMk cId="3732393151" sldId="2147483540"/>
            <ac:spMk id="9" creationId="{768BA126-FB10-CA43-4107-F6ACEA3AFF15}"/>
          </ac:spMkLst>
        </pc:spChg>
        <pc:graphicFrameChg chg="mod modGraphic">
          <ac:chgData name="Leonarte Paredes, Micaela (A&amp;F)" userId="S::micaela.leonarteparedes@mass.gov::9dd405bc-2413-4d02-bb30-9534b8884de8" providerId="AD" clId="Web-{2120900F-B12A-3044-1614-E0C193BF2198}" dt="2025-06-03T15:03:23.760" v="211"/>
          <ac:graphicFrameMkLst>
            <pc:docMk/>
            <pc:sldMk cId="3732393151" sldId="2147483540"/>
            <ac:graphicFrameMk id="6" creationId="{6A6980E1-34F0-6FB4-7B9D-EBB8D9A4230E}"/>
          </ac:graphicFrameMkLst>
        </pc:graphicFrameChg>
      </pc:sldChg>
    </pc:docChg>
  </pc:docChgLst>
  <pc:docChgLst>
    <pc:chgData name="LaRocca, Robert E. (A&amp;F)" userId="S::robert.e.larocca@mass.gov::ceee8bfd-19b9-4b75-a601-a6435830a151" providerId="AD" clId="Web-{35081B51-B3E2-C519-3277-7896B60A694A}"/>
    <pc:docChg chg="addSld delSld modSld">
      <pc:chgData name="LaRocca, Robert E. (A&amp;F)" userId="S::robert.e.larocca@mass.gov::ceee8bfd-19b9-4b75-a601-a6435830a151" providerId="AD" clId="Web-{35081B51-B3E2-C519-3277-7896B60A694A}" dt="2025-03-24T14:11:27.174" v="9"/>
      <pc:docMkLst>
        <pc:docMk/>
      </pc:docMkLst>
      <pc:sldChg chg="modSp">
        <pc:chgData name="LaRocca, Robert E. (A&amp;F)" userId="S::robert.e.larocca@mass.gov::ceee8bfd-19b9-4b75-a601-a6435830a151" providerId="AD" clId="Web-{35081B51-B3E2-C519-3277-7896B60A694A}" dt="2025-03-24T14:09:42.752" v="1" actId="20577"/>
        <pc:sldMkLst>
          <pc:docMk/>
          <pc:sldMk cId="1124631863" sldId="257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0:17.518" v="2"/>
        <pc:sldMkLst>
          <pc:docMk/>
          <pc:sldMk cId="933443941" sldId="259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0:18.549" v="3"/>
        <pc:sldMkLst>
          <pc:docMk/>
          <pc:sldMk cId="2776105033" sldId="261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0:22.924" v="5"/>
        <pc:sldMkLst>
          <pc:docMk/>
          <pc:sldMk cId="304504819" sldId="268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0:25.346" v="6"/>
        <pc:sldMkLst>
          <pc:docMk/>
          <pc:sldMk cId="2527672757" sldId="278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1:27.174" v="9"/>
        <pc:sldMkLst>
          <pc:docMk/>
          <pc:sldMk cId="500652064" sldId="281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0:21.205" v="4"/>
        <pc:sldMkLst>
          <pc:docMk/>
          <pc:sldMk cId="2194321398" sldId="2147483510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1:25.049" v="8"/>
        <pc:sldMkLst>
          <pc:docMk/>
          <pc:sldMk cId="2000886891" sldId="2147483512"/>
        </pc:sldMkLst>
      </pc:sldChg>
      <pc:sldChg chg="add">
        <pc:chgData name="LaRocca, Robert E. (A&amp;F)" userId="S::robert.e.larocca@mass.gov::ceee8bfd-19b9-4b75-a601-a6435830a151" providerId="AD" clId="Web-{35081B51-B3E2-C519-3277-7896B60A694A}" dt="2025-03-24T14:11:20.330" v="7"/>
        <pc:sldMkLst>
          <pc:docMk/>
          <pc:sldMk cId="2776105033" sldId="2147483518"/>
        </pc:sldMkLst>
      </pc:sldChg>
    </pc:docChg>
  </pc:docChgLst>
  <pc:docChgLst>
    <pc:chgData name="Fritz, Samuel B. (A&amp;F)" userId="0242f317-a9c7-40e6-a6e6-ebbdcde2729e" providerId="ADAL" clId="{963F5B54-1F25-458D-8FB8-AEF04CD9C747}"/>
    <pc:docChg chg="delSld modSld delMainMaster">
      <pc:chgData name="Fritz, Samuel B. (A&amp;F)" userId="0242f317-a9c7-40e6-a6e6-ebbdcde2729e" providerId="ADAL" clId="{963F5B54-1F25-458D-8FB8-AEF04CD9C747}" dt="2025-06-06T17:18:10.579" v="14" actId="20577"/>
      <pc:docMkLst>
        <pc:docMk/>
      </pc:docMkLst>
      <pc:sldChg chg="modSp">
        <pc:chgData name="Fritz, Samuel B. (A&amp;F)" userId="0242f317-a9c7-40e6-a6e6-ebbdcde2729e" providerId="ADAL" clId="{963F5B54-1F25-458D-8FB8-AEF04CD9C747}" dt="2025-06-06T17:18:10.579" v="14" actId="20577"/>
        <pc:sldMkLst>
          <pc:docMk/>
          <pc:sldMk cId="2568010536" sldId="276"/>
        </pc:sldMkLst>
        <pc:graphicFrameChg chg="mod">
          <ac:chgData name="Fritz, Samuel B. (A&amp;F)" userId="0242f317-a9c7-40e6-a6e6-ebbdcde2729e" providerId="ADAL" clId="{963F5B54-1F25-458D-8FB8-AEF04CD9C747}" dt="2025-06-06T17:18:10.579" v="14" actId="20577"/>
          <ac:graphicFrameMkLst>
            <pc:docMk/>
            <pc:sldMk cId="2568010536" sldId="276"/>
            <ac:graphicFrameMk id="4" creationId="{BCAF1A5D-AAF4-A5C2-F609-471FBC3134D9}"/>
          </ac:graphicFrameMkLst>
        </pc:graphicFrameChg>
      </pc:sldChg>
      <pc:sldChg chg="modNotesTx">
        <pc:chgData name="Fritz, Samuel B. (A&amp;F)" userId="0242f317-a9c7-40e6-a6e6-ebbdcde2729e" providerId="ADAL" clId="{963F5B54-1F25-458D-8FB8-AEF04CD9C747}" dt="2025-06-06T17:16:22.702" v="0" actId="20577"/>
        <pc:sldMkLst>
          <pc:docMk/>
          <pc:sldMk cId="1363718648" sldId="2147481540"/>
        </pc:sldMkLst>
      </pc:sldChg>
      <pc:sldChg chg="del">
        <pc:chgData name="Fritz, Samuel B. (A&amp;F)" userId="0242f317-a9c7-40e6-a6e6-ebbdcde2729e" providerId="ADAL" clId="{963F5B54-1F25-458D-8FB8-AEF04CD9C747}" dt="2025-06-06T17:16:48.118" v="3" actId="47"/>
        <pc:sldMkLst>
          <pc:docMk/>
          <pc:sldMk cId="2733478352" sldId="2147481541"/>
        </pc:sldMkLst>
      </pc:sldChg>
      <pc:sldChg chg="del">
        <pc:chgData name="Fritz, Samuel B. (A&amp;F)" userId="0242f317-a9c7-40e6-a6e6-ebbdcde2729e" providerId="ADAL" clId="{963F5B54-1F25-458D-8FB8-AEF04CD9C747}" dt="2025-06-06T17:16:47.122" v="2" actId="47"/>
        <pc:sldMkLst>
          <pc:docMk/>
          <pc:sldMk cId="719758237" sldId="2147481542"/>
        </pc:sldMkLst>
      </pc:sldChg>
      <pc:sldMasterChg chg="del delSldLayout">
        <pc:chgData name="Fritz, Samuel B. (A&amp;F)" userId="0242f317-a9c7-40e6-a6e6-ebbdcde2729e" providerId="ADAL" clId="{963F5B54-1F25-458D-8FB8-AEF04CD9C747}" dt="2025-06-06T17:16:31.628" v="1"/>
        <pc:sldMasterMkLst>
          <pc:docMk/>
          <pc:sldMasterMk cId="1759776782" sldId="2147483672"/>
        </pc:sldMasterMkLst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59776782" sldId="2147483672"/>
            <pc:sldLayoutMk cId="3409636249" sldId="2147483673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59776782" sldId="2147483672"/>
            <pc:sldLayoutMk cId="432465779" sldId="2147483674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59776782" sldId="2147483672"/>
            <pc:sldLayoutMk cId="1035802339" sldId="2147483675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59776782" sldId="2147483672"/>
            <pc:sldLayoutMk cId="1940941969" sldId="2147483676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59776782" sldId="2147483672"/>
            <pc:sldLayoutMk cId="672048130" sldId="2147483677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59776782" sldId="2147483672"/>
            <pc:sldLayoutMk cId="509149868" sldId="2147483678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59776782" sldId="2147483672"/>
            <pc:sldLayoutMk cId="3135343361" sldId="2147483679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59776782" sldId="2147483672"/>
            <pc:sldLayoutMk cId="1086952488" sldId="2147483680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59776782" sldId="2147483672"/>
            <pc:sldLayoutMk cId="819920181" sldId="2147483681"/>
          </pc:sldLayoutMkLst>
        </pc:sldLayoutChg>
      </pc:sldMasterChg>
      <pc:sldMasterChg chg="del delSldLayout">
        <pc:chgData name="Fritz, Samuel B. (A&amp;F)" userId="0242f317-a9c7-40e6-a6e6-ebbdcde2729e" providerId="ADAL" clId="{963F5B54-1F25-458D-8FB8-AEF04CD9C747}" dt="2025-06-06T17:16:31.628" v="1"/>
        <pc:sldMasterMkLst>
          <pc:docMk/>
          <pc:sldMasterMk cId="1732575163" sldId="2147483852"/>
        </pc:sldMasterMkLst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357718396" sldId="2147483853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1389036309" sldId="2147483854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2594917531" sldId="2147483855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2072536408" sldId="2147483856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569794064" sldId="2147483857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3578014983" sldId="2147483858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560597517" sldId="2147483859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103057176" sldId="2147483860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2690441662" sldId="2147483861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2048695585" sldId="2147483862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666094545" sldId="2147483863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2387128719" sldId="2147483864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1449292015" sldId="2147483865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3311687480" sldId="2147483867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1732575163" sldId="2147483852"/>
            <pc:sldLayoutMk cId="138657819" sldId="2147483872"/>
          </pc:sldLayoutMkLst>
        </pc:sldLayoutChg>
      </pc:sldMasterChg>
      <pc:sldMasterChg chg="del delSldLayout">
        <pc:chgData name="Fritz, Samuel B. (A&amp;F)" userId="0242f317-a9c7-40e6-a6e6-ebbdcde2729e" providerId="ADAL" clId="{963F5B54-1F25-458D-8FB8-AEF04CD9C747}" dt="2025-06-06T17:16:31.628" v="1"/>
        <pc:sldMasterMkLst>
          <pc:docMk/>
          <pc:sldMasterMk cId="2042452840" sldId="2147483933"/>
        </pc:sldMasterMkLst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2042452840" sldId="2147483933"/>
            <pc:sldLayoutMk cId="4786395" sldId="2147483934"/>
          </pc:sldLayoutMkLst>
        </pc:sldLayoutChg>
      </pc:sldMasterChg>
      <pc:sldMasterChg chg="del delSldLayout">
        <pc:chgData name="Fritz, Samuel B. (A&amp;F)" userId="0242f317-a9c7-40e6-a6e6-ebbdcde2729e" providerId="ADAL" clId="{963F5B54-1F25-458D-8FB8-AEF04CD9C747}" dt="2025-06-06T17:16:31.628" v="1"/>
        <pc:sldMasterMkLst>
          <pc:docMk/>
          <pc:sldMasterMk cId="3746529934" sldId="2147483935"/>
        </pc:sldMasterMkLst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3746529934" sldId="2147483935"/>
            <pc:sldLayoutMk cId="3140133052" sldId="2147483936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3746529934" sldId="2147483935"/>
            <pc:sldLayoutMk cId="269579080" sldId="2147483937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3746529934" sldId="2147483935"/>
            <pc:sldLayoutMk cId="173833883" sldId="2147483938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3746529934" sldId="2147483935"/>
            <pc:sldLayoutMk cId="1428585388" sldId="2147483939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3746529934" sldId="2147483935"/>
            <pc:sldLayoutMk cId="3134501417" sldId="2147483940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3746529934" sldId="2147483935"/>
            <pc:sldLayoutMk cId="2952291514" sldId="2147483941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3746529934" sldId="2147483935"/>
            <pc:sldLayoutMk cId="3997792779" sldId="2147483942"/>
          </pc:sldLayoutMkLst>
        </pc:sldLayoutChg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3746529934" sldId="2147483935"/>
            <pc:sldLayoutMk cId="4251703160" sldId="2147483943"/>
          </pc:sldLayoutMkLst>
        </pc:sldLayoutChg>
      </pc:sldMasterChg>
      <pc:sldMasterChg chg="del delSldLayout">
        <pc:chgData name="Fritz, Samuel B. (A&amp;F)" userId="0242f317-a9c7-40e6-a6e6-ebbdcde2729e" providerId="ADAL" clId="{963F5B54-1F25-458D-8FB8-AEF04CD9C747}" dt="2025-06-06T17:16:31.628" v="1"/>
        <pc:sldMasterMkLst>
          <pc:docMk/>
          <pc:sldMasterMk cId="2479385198" sldId="2147483945"/>
        </pc:sldMasterMkLst>
        <pc:sldLayoutChg chg="del">
          <pc:chgData name="Fritz, Samuel B. (A&amp;F)" userId="0242f317-a9c7-40e6-a6e6-ebbdcde2729e" providerId="ADAL" clId="{963F5B54-1F25-458D-8FB8-AEF04CD9C747}" dt="2025-06-06T17:16:31.628" v="1"/>
          <pc:sldLayoutMkLst>
            <pc:docMk/>
            <pc:sldMasterMk cId="2479385198" sldId="2147483945"/>
            <pc:sldLayoutMk cId="3475876285" sldId="2147483946"/>
          </pc:sldLayoutMkLst>
        </pc:sldLayoutChg>
      </pc:sldMasterChg>
    </pc:docChg>
  </pc:docChgLst>
  <pc:docChgLst>
    <pc:chgData name="Strain, Mallory (A&amp;F)" userId="S::mallory.strain@mass.gov::7f2f9c2c-98ee-44e6-afe8-8ea6a9111392" providerId="AD" clId="Web-{54BCAEF7-4A09-73BE-DB5D-FC9ADD1B0BE8}"/>
    <pc:docChg chg="delSld modSld">
      <pc:chgData name="Strain, Mallory (A&amp;F)" userId="S::mallory.strain@mass.gov::7f2f9c2c-98ee-44e6-afe8-8ea6a9111392" providerId="AD" clId="Web-{54BCAEF7-4A09-73BE-DB5D-FC9ADD1B0BE8}" dt="2025-03-04T19:46:57.950" v="16" actId="20577"/>
      <pc:docMkLst>
        <pc:docMk/>
      </pc:docMkLst>
      <pc:sldChg chg="del">
        <pc:chgData name="Strain, Mallory (A&amp;F)" userId="S::mallory.strain@mass.gov::7f2f9c2c-98ee-44e6-afe8-8ea6a9111392" providerId="AD" clId="Web-{54BCAEF7-4A09-73BE-DB5D-FC9ADD1B0BE8}" dt="2025-03-04T19:46:34.778" v="0"/>
        <pc:sldMkLst>
          <pc:docMk/>
          <pc:sldMk cId="2226751322" sldId="275"/>
        </pc:sldMkLst>
      </pc:sldChg>
      <pc:sldChg chg="modSp">
        <pc:chgData name="Strain, Mallory (A&amp;F)" userId="S::mallory.strain@mass.gov::7f2f9c2c-98ee-44e6-afe8-8ea6a9111392" providerId="AD" clId="Web-{54BCAEF7-4A09-73BE-DB5D-FC9ADD1B0BE8}" dt="2025-03-04T19:46:57.950" v="16" actId="20577"/>
        <pc:sldMkLst>
          <pc:docMk/>
          <pc:sldMk cId="1703071084" sldId="2147481544"/>
        </pc:sldMkLst>
      </pc:sldChg>
    </pc:docChg>
  </pc:docChgLst>
  <pc:docChgLst>
    <pc:chgData name="Strain, Mallory (A&amp;F)" userId="S::mallory.strain@mass.gov::7f2f9c2c-98ee-44e6-afe8-8ea6a9111392" providerId="AD" clId="Web-{1DBA4242-053C-AD3F-7D19-3EB2595FF007}"/>
    <pc:docChg chg="modSld">
      <pc:chgData name="Strain, Mallory (A&amp;F)" userId="S::mallory.strain@mass.gov::7f2f9c2c-98ee-44e6-afe8-8ea6a9111392" providerId="AD" clId="Web-{1DBA4242-053C-AD3F-7D19-3EB2595FF007}" dt="2025-03-25T14:33:08.419" v="8"/>
      <pc:docMkLst>
        <pc:docMk/>
      </pc:docMkLst>
      <pc:sldChg chg="modSp">
        <pc:chgData name="Strain, Mallory (A&amp;F)" userId="S::mallory.strain@mass.gov::7f2f9c2c-98ee-44e6-afe8-8ea6a9111392" providerId="AD" clId="Web-{1DBA4242-053C-AD3F-7D19-3EB2595FF007}" dt="2025-03-25T14:18:08.672" v="7"/>
        <pc:sldMkLst>
          <pc:docMk/>
          <pc:sldMk cId="1721034712" sldId="2147481527"/>
        </pc:sldMkLst>
      </pc:sldChg>
      <pc:sldChg chg="mod modShow">
        <pc:chgData name="Strain, Mallory (A&amp;F)" userId="S::mallory.strain@mass.gov::7f2f9c2c-98ee-44e6-afe8-8ea6a9111392" providerId="AD" clId="Web-{1DBA4242-053C-AD3F-7D19-3EB2595FF007}" dt="2025-03-25T14:33:08.419" v="8"/>
        <pc:sldMkLst>
          <pc:docMk/>
          <pc:sldMk cId="2318375095" sldId="2147483508"/>
        </pc:sldMkLst>
      </pc:sldChg>
    </pc:docChg>
  </pc:docChgLst>
  <pc:docChgLst>
    <pc:chgData name="Strain, Mallory (A&amp;F)" userId="S::mallory.strain@mass.gov::7f2f9c2c-98ee-44e6-afe8-8ea6a9111392" providerId="AD" clId="Web-{5D035CC1-F689-67E1-1043-68DF2D3F80E3}"/>
    <pc:docChg chg="modSld">
      <pc:chgData name="Strain, Mallory (A&amp;F)" userId="S::mallory.strain@mass.gov::7f2f9c2c-98ee-44e6-afe8-8ea6a9111392" providerId="AD" clId="Web-{5D035CC1-F689-67E1-1043-68DF2D3F80E3}" dt="2025-02-11T19:08:19.760" v="65" actId="20577"/>
      <pc:docMkLst>
        <pc:docMk/>
      </pc:docMkLst>
      <pc:sldChg chg="modSp">
        <pc:chgData name="Strain, Mallory (A&amp;F)" userId="S::mallory.strain@mass.gov::7f2f9c2c-98ee-44e6-afe8-8ea6a9111392" providerId="AD" clId="Web-{5D035CC1-F689-67E1-1043-68DF2D3F80E3}" dt="2025-02-11T19:08:19.760" v="65" actId="20577"/>
        <pc:sldMkLst>
          <pc:docMk/>
          <pc:sldMk cId="3379675862" sldId="2147483477"/>
        </pc:sldMkLst>
      </pc:sldChg>
      <pc:sldChg chg="modSp">
        <pc:chgData name="Strain, Mallory (A&amp;F)" userId="S::mallory.strain@mass.gov::7f2f9c2c-98ee-44e6-afe8-8ea6a9111392" providerId="AD" clId="Web-{5D035CC1-F689-67E1-1043-68DF2D3F80E3}" dt="2025-02-11T19:05:31.307" v="30" actId="20577"/>
        <pc:sldMkLst>
          <pc:docMk/>
          <pc:sldMk cId="3830842327" sldId="2147483487"/>
        </pc:sldMkLst>
      </pc:sldChg>
    </pc:docChg>
  </pc:docChgLst>
  <pc:docChgLst>
    <pc:chgData name="Jauhar, Mehar (A&amp;F)" userId="6b184fc0-f80d-46ab-a4ba-4a5755ad07a6" providerId="ADAL" clId="{85CB0F5C-5498-0540-83D6-8656FAA94CBB}"/>
    <pc:docChg chg="undo custSel addSld delSld modSld delMainMaster">
      <pc:chgData name="Jauhar, Mehar (A&amp;F)" userId="6b184fc0-f80d-46ab-a4ba-4a5755ad07a6" providerId="ADAL" clId="{85CB0F5C-5498-0540-83D6-8656FAA94CBB}" dt="2025-03-05T10:21:14.153" v="300"/>
      <pc:docMkLst>
        <pc:docMk/>
      </pc:docMkLst>
      <pc:sldChg chg="modSp mod">
        <pc:chgData name="Jauhar, Mehar (A&amp;F)" userId="6b184fc0-f80d-46ab-a4ba-4a5755ad07a6" providerId="ADAL" clId="{85CB0F5C-5498-0540-83D6-8656FAA94CBB}" dt="2025-03-03T17:56:27.386" v="193" actId="20577"/>
        <pc:sldMkLst>
          <pc:docMk/>
          <pc:sldMk cId="1706473524" sldId="256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1124631863" sldId="257"/>
        </pc:sldMkLst>
      </pc:sldChg>
      <pc:sldChg chg="del">
        <pc:chgData name="Jauhar, Mehar (A&amp;F)" userId="6b184fc0-f80d-46ab-a4ba-4a5755ad07a6" providerId="ADAL" clId="{85CB0F5C-5498-0540-83D6-8656FAA94CBB}" dt="2025-03-05T10:18:43.890" v="273" actId="2696"/>
        <pc:sldMkLst>
          <pc:docMk/>
          <pc:sldMk cId="2266968594" sldId="257"/>
        </pc:sldMkLst>
      </pc:sldChg>
      <pc:sldChg chg="add del">
        <pc:chgData name="Jauhar, Mehar (A&amp;F)" userId="6b184fc0-f80d-46ab-a4ba-4a5755ad07a6" providerId="ADAL" clId="{85CB0F5C-5498-0540-83D6-8656FAA94CBB}" dt="2025-03-03T21:10:07.019" v="201" actId="2696"/>
        <pc:sldMkLst>
          <pc:docMk/>
          <pc:sldMk cId="1603070670" sldId="258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933443941" sldId="259"/>
        </pc:sldMkLst>
      </pc:sldChg>
      <pc:sldChg chg="del">
        <pc:chgData name="Jauhar, Mehar (A&amp;F)" userId="6b184fc0-f80d-46ab-a4ba-4a5755ad07a6" providerId="ADAL" clId="{85CB0F5C-5498-0540-83D6-8656FAA94CBB}" dt="2025-03-05T10:18:43.911" v="283" actId="2696"/>
        <pc:sldMkLst>
          <pc:docMk/>
          <pc:sldMk cId="1026363083" sldId="259"/>
        </pc:sldMkLst>
      </pc:sldChg>
      <pc:sldChg chg="del">
        <pc:chgData name="Jauhar, Mehar (A&amp;F)" userId="6b184fc0-f80d-46ab-a4ba-4a5755ad07a6" providerId="ADAL" clId="{85CB0F5C-5498-0540-83D6-8656FAA94CBB}" dt="2025-03-05T10:18:43.919" v="285" actId="2696"/>
        <pc:sldMkLst>
          <pc:docMk/>
          <pc:sldMk cId="615861470" sldId="261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2776105033" sldId="261"/>
        </pc:sldMkLst>
      </pc:sldChg>
      <pc:sldChg chg="del">
        <pc:chgData name="Jauhar, Mehar (A&amp;F)" userId="6b184fc0-f80d-46ab-a4ba-4a5755ad07a6" providerId="ADAL" clId="{85CB0F5C-5498-0540-83D6-8656FAA94CBB}" dt="2025-03-05T10:18:43.906" v="280" actId="2696"/>
        <pc:sldMkLst>
          <pc:docMk/>
          <pc:sldMk cId="407334923" sldId="267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1554202229" sldId="267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304504819" sldId="268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1365690984" sldId="271"/>
        </pc:sldMkLst>
      </pc:sldChg>
      <pc:sldChg chg="del">
        <pc:chgData name="Jauhar, Mehar (A&amp;F)" userId="6b184fc0-f80d-46ab-a4ba-4a5755ad07a6" providerId="ADAL" clId="{85CB0F5C-5498-0540-83D6-8656FAA94CBB}" dt="2025-03-05T10:18:43.906" v="281" actId="2696"/>
        <pc:sldMkLst>
          <pc:docMk/>
          <pc:sldMk cId="3067832565" sldId="271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1645729307" sldId="275"/>
        </pc:sldMkLst>
      </pc:sldChg>
      <pc:sldChg chg="modSp">
        <pc:chgData name="Jauhar, Mehar (A&amp;F)" userId="6b184fc0-f80d-46ab-a4ba-4a5755ad07a6" providerId="ADAL" clId="{85CB0F5C-5498-0540-83D6-8656FAA94CBB}" dt="2025-03-03T15:37:34.315" v="70" actId="255"/>
        <pc:sldMkLst>
          <pc:docMk/>
          <pc:sldMk cId="2568010536" sldId="276"/>
        </pc:sldMkLst>
      </pc:sldChg>
      <pc:sldChg chg="add del">
        <pc:chgData name="Jauhar, Mehar (A&amp;F)" userId="6b184fc0-f80d-46ab-a4ba-4a5755ad07a6" providerId="ADAL" clId="{85CB0F5C-5498-0540-83D6-8656FAA94CBB}" dt="2025-03-03T21:10:05.861" v="199" actId="2696"/>
        <pc:sldMkLst>
          <pc:docMk/>
          <pc:sldMk cId="1331652569" sldId="277"/>
        </pc:sldMkLst>
      </pc:sldChg>
      <pc:sldChg chg="del">
        <pc:chgData name="Jauhar, Mehar (A&amp;F)" userId="6b184fc0-f80d-46ab-a4ba-4a5755ad07a6" providerId="ADAL" clId="{85CB0F5C-5498-0540-83D6-8656FAA94CBB}" dt="2025-03-05T10:18:43.897" v="275" actId="2696"/>
        <pc:sldMkLst>
          <pc:docMk/>
          <pc:sldMk cId="1059157415" sldId="278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2527672757" sldId="278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1084730930" sldId="279"/>
        </pc:sldMkLst>
      </pc:sldChg>
      <pc:sldChg chg="del">
        <pc:chgData name="Jauhar, Mehar (A&amp;F)" userId="6b184fc0-f80d-46ab-a4ba-4a5755ad07a6" providerId="ADAL" clId="{85CB0F5C-5498-0540-83D6-8656FAA94CBB}" dt="2025-03-05T10:18:43.910" v="282" actId="2696"/>
        <pc:sldMkLst>
          <pc:docMk/>
          <pc:sldMk cId="2954961816" sldId="279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500652064" sldId="281"/>
        </pc:sldMkLst>
      </pc:sldChg>
      <pc:sldChg chg="del">
        <pc:chgData name="Jauhar, Mehar (A&amp;F)" userId="6b184fc0-f80d-46ab-a4ba-4a5755ad07a6" providerId="ADAL" clId="{85CB0F5C-5498-0540-83D6-8656FAA94CBB}" dt="2025-03-05T10:18:43.905" v="279" actId="2696"/>
        <pc:sldMkLst>
          <pc:docMk/>
          <pc:sldMk cId="1061977537" sldId="281"/>
        </pc:sldMkLst>
      </pc:sldChg>
      <pc:sldChg chg="modSp mod">
        <pc:chgData name="Jauhar, Mehar (A&amp;F)" userId="6b184fc0-f80d-46ab-a4ba-4a5755ad07a6" providerId="ADAL" clId="{85CB0F5C-5498-0540-83D6-8656FAA94CBB}" dt="2025-03-03T15:57:30.656" v="188" actId="14100"/>
        <pc:sldMkLst>
          <pc:docMk/>
          <pc:sldMk cId="2134816594" sldId="2147481244"/>
        </pc:sldMkLst>
      </pc:sldChg>
      <pc:sldChg chg="modSp mod addCm delCm modCm">
        <pc:chgData name="Jauhar, Mehar (A&amp;F)" userId="6b184fc0-f80d-46ab-a4ba-4a5755ad07a6" providerId="ADAL" clId="{85CB0F5C-5498-0540-83D6-8656FAA94CBB}" dt="2025-03-05T10:19:22.129" v="289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85CB0F5C-5498-0540-83D6-8656FAA94CBB}" dt="2025-03-05T10:19:22.129" v="289"/>
              <pc2:cmMkLst xmlns:pc2="http://schemas.microsoft.com/office/powerpoint/2019/9/main/command">
                <pc:docMk/>
                <pc:sldMk cId="1561720608" sldId="2147481257"/>
                <pc2:cmMk id="{92A8A05D-C1E1-E24E-B1EF-382D77CBF9BB}"/>
              </pc2:cmMkLst>
            </pc226:cmChg>
          </p:ext>
        </pc:extLst>
      </pc:sldChg>
      <pc:sldChg chg="delCm">
        <pc:chgData name="Jauhar, Mehar (A&amp;F)" userId="6b184fc0-f80d-46ab-a4ba-4a5755ad07a6" providerId="ADAL" clId="{85CB0F5C-5498-0540-83D6-8656FAA94CBB}" dt="2025-03-05T10:20:07.720" v="292"/>
        <pc:sldMkLst>
          <pc:docMk/>
          <pc:sldMk cId="1721034712" sldId="214748152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19:57.374" v="291"/>
              <pc2:cmMkLst xmlns:pc2="http://schemas.microsoft.com/office/powerpoint/2019/9/main/command">
                <pc:docMk/>
                <pc:sldMk cId="1721034712" sldId="2147481527"/>
                <pc2:cmMk id="{8A942E62-0CBA-44B6-BFB2-C7E6E8F54B43}"/>
              </pc2:cmMkLst>
            </pc226:cmChg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0:07.720" v="292"/>
              <pc2:cmMkLst xmlns:pc2="http://schemas.microsoft.com/office/powerpoint/2019/9/main/command">
                <pc:docMk/>
                <pc:sldMk cId="1721034712" sldId="2147481527"/>
                <pc2:cmMk id="{ACD4A6D9-81C9-4FF8-A8AC-463BAB55C02D}"/>
              </pc2:cmMkLst>
            </pc226:cmChg>
          </p:ext>
        </pc:extLst>
      </pc:sldChg>
      <pc:sldChg chg="addCm delCm modCm">
        <pc:chgData name="Jauhar, Mehar (A&amp;F)" userId="6b184fc0-f80d-46ab-a4ba-4a5755ad07a6" providerId="ADAL" clId="{85CB0F5C-5498-0540-83D6-8656FAA94CBB}" dt="2025-03-05T10:21:14.153" v="300"/>
        <pc:sldMkLst>
          <pc:docMk/>
          <pc:sldMk cId="2934033854" sldId="21474815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Jauhar, Mehar (A&amp;F)" userId="6b184fc0-f80d-46ab-a4ba-4a5755ad07a6" providerId="ADAL" clId="{85CB0F5C-5498-0540-83D6-8656FAA94CBB}" dt="2025-03-05T10:21:14.153" v="300"/>
              <pc2:cmMkLst xmlns:pc2="http://schemas.microsoft.com/office/powerpoint/2019/9/main/command">
                <pc:docMk/>
                <pc:sldMk cId="2934033854" sldId="2147481531"/>
                <pc2:cmMk id="{147B712E-F31B-9A47-9337-DC83349961D7}"/>
              </pc2:cmMkLst>
              <pc226:cmRplyChg chg="add">
                <pc226:chgData name="Jauhar, Mehar (A&amp;F)" userId="6b184fc0-f80d-46ab-a4ba-4a5755ad07a6" providerId="ADAL" clId="{85CB0F5C-5498-0540-83D6-8656FAA94CBB}" dt="2025-03-03T17:32:56.285" v="190"/>
                <pc2:cmRplyMkLst xmlns:pc2="http://schemas.microsoft.com/office/powerpoint/2019/9/main/command">
                  <pc:docMk/>
                  <pc:sldMk cId="2934033854" sldId="2147481531"/>
                  <pc2:cmMk id="{147B712E-F31B-9A47-9337-DC83349961D7}"/>
                  <pc2:cmRplyMk id="{AC67E9A5-E10F-474C-A87B-9A07CBA95480}"/>
                </pc2:cmRplyMkLst>
              </pc226:cmRplyChg>
            </pc226:cmChg>
          </p:ext>
        </pc:extLst>
      </pc:sldChg>
      <pc:sldChg chg="del">
        <pc:chgData name="Jauhar, Mehar (A&amp;F)" userId="6b184fc0-f80d-46ab-a4ba-4a5755ad07a6" providerId="ADAL" clId="{85CB0F5C-5498-0540-83D6-8656FAA94CBB}" dt="2025-03-05T10:18:43.904" v="278" actId="2696"/>
        <pc:sldMkLst>
          <pc:docMk/>
          <pc:sldMk cId="2588308686" sldId="2147481537"/>
        </pc:sldMkLst>
      </pc:sldChg>
      <pc:sldChg chg="delCm">
        <pc:chgData name="Jauhar, Mehar (A&amp;F)" userId="6b184fc0-f80d-46ab-a4ba-4a5755ad07a6" providerId="ADAL" clId="{85CB0F5C-5498-0540-83D6-8656FAA94CBB}" dt="2025-03-05T10:21:05.467" v="299"/>
        <pc:sldMkLst>
          <pc:docMk/>
          <pc:sldMk cId="1703071084" sldId="214748154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1:05.467" v="299"/>
              <pc2:cmMkLst xmlns:pc2="http://schemas.microsoft.com/office/powerpoint/2019/9/main/command">
                <pc:docMk/>
                <pc:sldMk cId="1703071084" sldId="2147481544"/>
                <pc2:cmMk id="{20A04837-A757-4FDC-A803-C9789DDB2F7E}"/>
              </pc2:cmMkLst>
            </pc226:cmChg>
          </p:ext>
        </pc:extLst>
      </pc:sldChg>
      <pc:sldChg chg="modSp mod addCm delCm modCm">
        <pc:chgData name="Jauhar, Mehar (A&amp;F)" userId="6b184fc0-f80d-46ab-a4ba-4a5755ad07a6" providerId="ADAL" clId="{85CB0F5C-5498-0540-83D6-8656FAA94CBB}" dt="2025-03-05T10:19:46.155" v="290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85CB0F5C-5498-0540-83D6-8656FAA94CBB}" dt="2025-03-05T10:19:46.155" v="290"/>
              <pc2:cmMkLst xmlns:pc2="http://schemas.microsoft.com/office/powerpoint/2019/9/main/command">
                <pc:docMk/>
                <pc:sldMk cId="2126720455" sldId="2147481550"/>
                <pc2:cmMk id="{EF6F63FD-6706-1A4A-A718-73B309EE340B}"/>
              </pc2:cmMkLst>
            </pc226:cmChg>
          </p:ext>
        </pc:extLst>
      </pc:sldChg>
      <pc:sldChg chg="addSp delSp modSp mod">
        <pc:chgData name="Jauhar, Mehar (A&amp;F)" userId="6b184fc0-f80d-46ab-a4ba-4a5755ad07a6" providerId="ADAL" clId="{85CB0F5C-5498-0540-83D6-8656FAA94CBB}" dt="2025-03-03T15:53:45.543" v="133" actId="14100"/>
        <pc:sldMkLst>
          <pc:docMk/>
          <pc:sldMk cId="2936321618" sldId="2147483469"/>
        </pc:sldMkLst>
      </pc:sldChg>
      <pc:sldChg chg="delCm">
        <pc:chgData name="Jauhar, Mehar (A&amp;F)" userId="6b184fc0-f80d-46ab-a4ba-4a5755ad07a6" providerId="ADAL" clId="{85CB0F5C-5498-0540-83D6-8656FAA94CBB}" dt="2025-03-05T10:20:25.080" v="296"/>
        <pc:sldMkLst>
          <pc:docMk/>
          <pc:sldMk cId="866654257" sldId="214748347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0:25.080" v="296"/>
              <pc2:cmMkLst xmlns:pc2="http://schemas.microsoft.com/office/powerpoint/2019/9/main/command">
                <pc:docMk/>
                <pc:sldMk cId="866654257" sldId="2147483472"/>
                <pc2:cmMk id="{E3545607-86B4-4C6B-A631-861C7F795141}"/>
              </pc2:cmMkLst>
            </pc226:cmChg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0:23.977" v="295"/>
              <pc2:cmMkLst xmlns:pc2="http://schemas.microsoft.com/office/powerpoint/2019/9/main/command">
                <pc:docMk/>
                <pc:sldMk cId="866654257" sldId="2147483472"/>
                <pc2:cmMk id="{8866983E-4EF8-4FEE-BCA5-FA1CEF3C2C4A}"/>
              </pc2:cmMkLst>
            </pc226:cmChg>
          </p:ext>
        </pc:extLst>
      </pc:sldChg>
      <pc:sldChg chg="modSp mod">
        <pc:chgData name="Jauhar, Mehar (A&amp;F)" userId="6b184fc0-f80d-46ab-a4ba-4a5755ad07a6" providerId="ADAL" clId="{85CB0F5C-5498-0540-83D6-8656FAA94CBB}" dt="2025-03-03T15:54:05.766" v="134" actId="13926"/>
        <pc:sldMkLst>
          <pc:docMk/>
          <pc:sldMk cId="2732401005" sldId="2147483478"/>
        </pc:sldMkLst>
      </pc:sldChg>
      <pc:sldChg chg="addSp delSp modSp mod">
        <pc:chgData name="Jauhar, Mehar (A&amp;F)" userId="6b184fc0-f80d-46ab-a4ba-4a5755ad07a6" providerId="ADAL" clId="{85CB0F5C-5498-0540-83D6-8656FAA94CBB}" dt="2025-03-03T21:14:39.433" v="262" actId="13926"/>
        <pc:sldMkLst>
          <pc:docMk/>
          <pc:sldMk cId="1741467460" sldId="2147483486"/>
        </pc:sldMkLst>
      </pc:sldChg>
      <pc:sldChg chg="del">
        <pc:chgData name="Jauhar, Mehar (A&amp;F)" userId="6b184fc0-f80d-46ab-a4ba-4a5755ad07a6" providerId="ADAL" clId="{85CB0F5C-5498-0540-83D6-8656FAA94CBB}" dt="2025-03-05T10:18:43.899" v="276" actId="2696"/>
        <pc:sldMkLst>
          <pc:docMk/>
          <pc:sldMk cId="3781811713" sldId="2147483488"/>
        </pc:sldMkLst>
      </pc:sldChg>
      <pc:sldChg chg="del">
        <pc:chgData name="Jauhar, Mehar (A&amp;F)" userId="6b184fc0-f80d-46ab-a4ba-4a5755ad07a6" providerId="ADAL" clId="{85CB0F5C-5498-0540-83D6-8656FAA94CBB}" dt="2025-03-05T10:18:43.900" v="277" actId="2696"/>
        <pc:sldMkLst>
          <pc:docMk/>
          <pc:sldMk cId="812206341" sldId="2147483489"/>
        </pc:sldMkLst>
      </pc:sldChg>
      <pc:sldChg chg="modSp mod">
        <pc:chgData name="Jauhar, Mehar (A&amp;F)" userId="6b184fc0-f80d-46ab-a4ba-4a5755ad07a6" providerId="ADAL" clId="{85CB0F5C-5498-0540-83D6-8656FAA94CBB}" dt="2025-03-03T21:09:20.897" v="194" actId="13926"/>
        <pc:sldMkLst>
          <pc:docMk/>
          <pc:sldMk cId="0" sldId="2147483491"/>
        </pc:sldMkLst>
      </pc:sldChg>
      <pc:sldChg chg="modSp add del mod">
        <pc:chgData name="Jauhar, Mehar (A&amp;F)" userId="6b184fc0-f80d-46ab-a4ba-4a5755ad07a6" providerId="ADAL" clId="{85CB0F5C-5498-0540-83D6-8656FAA94CBB}" dt="2025-03-03T21:10:07.657" v="202" actId="2696"/>
        <pc:sldMkLst>
          <pc:docMk/>
          <pc:sldMk cId="0" sldId="2147483495"/>
        </pc:sldMkLst>
      </pc:sldChg>
      <pc:sldChg chg="add del">
        <pc:chgData name="Jauhar, Mehar (A&amp;F)" userId="6b184fc0-f80d-46ab-a4ba-4a5755ad07a6" providerId="ADAL" clId="{85CB0F5C-5498-0540-83D6-8656FAA94CBB}" dt="2025-03-03T21:10:06.408" v="200" actId="2696"/>
        <pc:sldMkLst>
          <pc:docMk/>
          <pc:sldMk cId="1887881709" sldId="2147483496"/>
        </pc:sldMkLst>
      </pc:sldChg>
      <pc:sldChg chg="delCm modCm">
        <pc:chgData name="Jauhar, Mehar (A&amp;F)" userId="6b184fc0-f80d-46ab-a4ba-4a5755ad07a6" providerId="ADAL" clId="{85CB0F5C-5498-0540-83D6-8656FAA94CBB}" dt="2025-03-05T10:20:57.170" v="298"/>
        <pc:sldMkLst>
          <pc:docMk/>
          <pc:sldMk cId="3239282385" sldId="214748349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Jauhar, Mehar (A&amp;F)" userId="6b184fc0-f80d-46ab-a4ba-4a5755ad07a6" providerId="ADAL" clId="{85CB0F5C-5498-0540-83D6-8656FAA94CBB}" dt="2025-03-05T10:20:57.170" v="298"/>
              <pc2:cmMkLst xmlns:pc2="http://schemas.microsoft.com/office/powerpoint/2019/9/main/command">
                <pc:docMk/>
                <pc:sldMk cId="3239282385" sldId="2147483497"/>
                <pc2:cmMk id="{BD904D8A-0160-45C0-BE89-1ACE3E75D002}"/>
              </pc2:cmMkLst>
            </pc226:cmChg>
          </p:ext>
        </pc:extLst>
      </pc:sldChg>
      <pc:sldChg chg="addSp delSp modSp add mod">
        <pc:chgData name="Jauhar, Mehar (A&amp;F)" userId="6b184fc0-f80d-46ab-a4ba-4a5755ad07a6" providerId="ADAL" clId="{85CB0F5C-5498-0540-83D6-8656FAA94CBB}" dt="2025-03-03T15:55:57.132" v="186" actId="20577"/>
        <pc:sldMkLst>
          <pc:docMk/>
          <pc:sldMk cId="2169864082" sldId="2147483501"/>
        </pc:sldMkLst>
      </pc:sldChg>
      <pc:sldChg chg="delCm">
        <pc:chgData name="Jauhar, Mehar (A&amp;F)" userId="6b184fc0-f80d-46ab-a4ba-4a5755ad07a6" providerId="ADAL" clId="{85CB0F5C-5498-0540-83D6-8656FAA94CBB}" dt="2025-03-05T10:20:17.119" v="294"/>
        <pc:sldMkLst>
          <pc:docMk/>
          <pc:sldMk cId="202134423" sldId="214748350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0:17.119" v="294"/>
              <pc2:cmMkLst xmlns:pc2="http://schemas.microsoft.com/office/powerpoint/2019/9/main/command">
                <pc:docMk/>
                <pc:sldMk cId="202134423" sldId="2147483509"/>
                <pc2:cmMk id="{F66A7572-2DF4-4F5E-BE86-74F94328C2E8}"/>
              </pc2:cmMkLst>
            </pc226:cmChg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0:13.761" v="293"/>
              <pc2:cmMkLst xmlns:pc2="http://schemas.microsoft.com/office/powerpoint/2019/9/main/command">
                <pc:docMk/>
                <pc:sldMk cId="202134423" sldId="2147483509"/>
                <pc2:cmMk id="{81827298-54D0-46F3-976F-69EBAD7F5398}"/>
              </pc2:cmMkLst>
            </pc226:cmChg>
          </p:ext>
        </pc:ext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2194321398" sldId="2147483510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3781811713" sldId="2147483511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2000886891" sldId="2147483512"/>
        </pc:sldMkLst>
      </pc:sldChg>
      <pc:sldMasterChg chg="del delSldLayout">
        <pc:chgData name="Jauhar, Mehar (A&amp;F)" userId="6b184fc0-f80d-46ab-a4ba-4a5755ad07a6" providerId="ADAL" clId="{85CB0F5C-5498-0540-83D6-8656FAA94CBB}" dt="2025-03-05T10:18:43.927" v="287" actId="2696"/>
        <pc:sldMasterMkLst>
          <pc:docMk/>
          <pc:sldMasterMk cId="1068053123" sldId="2147483947"/>
        </pc:sldMasterMkLst>
        <pc:sldLayoutChg chg="del">
          <pc:chgData name="Jauhar, Mehar (A&amp;F)" userId="6b184fc0-f80d-46ab-a4ba-4a5755ad07a6" providerId="ADAL" clId="{85CB0F5C-5498-0540-83D6-8656FAA94CBB}" dt="2025-03-05T10:18:43.896" v="274" actId="2696"/>
          <pc:sldLayoutMkLst>
            <pc:docMk/>
            <pc:sldMasterMk cId="1068053123" sldId="2147483947"/>
            <pc:sldLayoutMk cId="2775337274" sldId="2147483948"/>
          </pc:sldLayoutMkLst>
        </pc:sldLayoutChg>
        <pc:sldLayoutChg chg="del">
          <pc:chgData name="Jauhar, Mehar (A&amp;F)" userId="6b184fc0-f80d-46ab-a4ba-4a5755ad07a6" providerId="ADAL" clId="{85CB0F5C-5498-0540-83D6-8656FAA94CBB}" dt="2025-03-05T10:18:43.917" v="284" actId="2696"/>
          <pc:sldLayoutMkLst>
            <pc:docMk/>
            <pc:sldMasterMk cId="1068053123" sldId="2147483947"/>
            <pc:sldLayoutMk cId="2975872462" sldId="2147483949"/>
          </pc:sldLayoutMkLst>
        </pc:sldLayoutChg>
        <pc:sldLayoutChg chg="del">
          <pc:chgData name="Jauhar, Mehar (A&amp;F)" userId="6b184fc0-f80d-46ab-a4ba-4a5755ad07a6" providerId="ADAL" clId="{85CB0F5C-5498-0540-83D6-8656FAA94CBB}" dt="2025-03-05T10:18:43.926" v="286" actId="2696"/>
          <pc:sldLayoutMkLst>
            <pc:docMk/>
            <pc:sldMasterMk cId="1068053123" sldId="2147483947"/>
            <pc:sldLayoutMk cId="17364725" sldId="2147483950"/>
          </pc:sldLayoutMkLst>
        </pc:sldLayoutChg>
      </pc:sldMasterChg>
    </pc:docChg>
  </pc:docChgLst>
  <pc:docChgLst>
    <pc:chgData name="Leonarte Paredes, Micaela (A&amp;F)" userId="9dd405bc-2413-4d02-bb30-9534b8884de8" providerId="ADAL" clId="{39DC0315-7601-4E24-895F-292A204AACAB}"/>
    <pc:docChg chg="undo custSel addSld modSld">
      <pc:chgData name="Leonarte Paredes, Micaela (A&amp;F)" userId="9dd405bc-2413-4d02-bb30-9534b8884de8" providerId="ADAL" clId="{39DC0315-7601-4E24-895F-292A204AACAB}" dt="2025-03-25T16:11:09.938" v="4"/>
      <pc:docMkLst>
        <pc:docMk/>
      </pc:docMkLst>
      <pc:sldChg chg="addSp modSp mod">
        <pc:chgData name="Leonarte Paredes, Micaela (A&amp;F)" userId="9dd405bc-2413-4d02-bb30-9534b8884de8" providerId="ADAL" clId="{39DC0315-7601-4E24-895F-292A204AACAB}" dt="2025-03-24T20:28:48.416" v="3" actId="2164"/>
        <pc:sldMkLst>
          <pc:docMk/>
          <pc:sldMk cId="3379675862" sldId="2147483477"/>
        </pc:sldMkLst>
      </pc:sldChg>
      <pc:sldChg chg="add">
        <pc:chgData name="Leonarte Paredes, Micaela (A&amp;F)" userId="9dd405bc-2413-4d02-bb30-9534b8884de8" providerId="ADAL" clId="{39DC0315-7601-4E24-895F-292A204AACAB}" dt="2025-03-25T16:11:09.938" v="4"/>
        <pc:sldMkLst>
          <pc:docMk/>
          <pc:sldMk cId="0" sldId="2147483521"/>
        </pc:sldMkLst>
      </pc:sldChg>
    </pc:docChg>
  </pc:docChgLst>
  <pc:docChgLst>
    <pc:chgData name="Rebelo, Kristen E. (DOT)" userId="S::kristen.e.rebelo@dot.state.ma.us::f8539648-947b-45d6-a2cd-2248a6f0ade9" providerId="AD" clId="Web-{C731ED91-16FB-606F-D03C-D360EA663BAA}"/>
    <pc:docChg chg="modSld">
      <pc:chgData name="Rebelo, Kristen E. (DOT)" userId="S::kristen.e.rebelo@dot.state.ma.us::f8539648-947b-45d6-a2cd-2248a6f0ade9" providerId="AD" clId="Web-{C731ED91-16FB-606F-D03C-D360EA663BAA}" dt="2025-06-03T14:47:18.776" v="58" actId="20577"/>
      <pc:docMkLst>
        <pc:docMk/>
      </pc:docMkLst>
      <pc:sldChg chg="modSp">
        <pc:chgData name="Rebelo, Kristen E. (DOT)" userId="S::kristen.e.rebelo@dot.state.ma.us::f8539648-947b-45d6-a2cd-2248a6f0ade9" providerId="AD" clId="Web-{C731ED91-16FB-606F-D03C-D360EA663BAA}" dt="2025-06-03T14:47:18.776" v="58" actId="20577"/>
        <pc:sldMkLst>
          <pc:docMk/>
          <pc:sldMk cId="4026100562" sldId="264"/>
        </pc:sldMkLst>
        <pc:spChg chg="mod">
          <ac:chgData name="Rebelo, Kristen E. (DOT)" userId="S::kristen.e.rebelo@dot.state.ma.us::f8539648-947b-45d6-a2cd-2248a6f0ade9" providerId="AD" clId="Web-{C731ED91-16FB-606F-D03C-D360EA663BAA}" dt="2025-06-03T14:47:18.776" v="58" actId="20577"/>
          <ac:spMkLst>
            <pc:docMk/>
            <pc:sldMk cId="4026100562" sldId="264"/>
            <ac:spMk id="2" creationId="{00000000-0000-0000-0000-000000000000}"/>
          </ac:spMkLst>
        </pc:spChg>
      </pc:sldChg>
      <pc:sldChg chg="modSp">
        <pc:chgData name="Rebelo, Kristen E. (DOT)" userId="S::kristen.e.rebelo@dot.state.ma.us::f8539648-947b-45d6-a2cd-2248a6f0ade9" providerId="AD" clId="Web-{C731ED91-16FB-606F-D03C-D360EA663BAA}" dt="2025-06-03T14:45:52.196" v="1" actId="20577"/>
        <pc:sldMkLst>
          <pc:docMk/>
          <pc:sldMk cId="2976025070" sldId="2147483525"/>
        </pc:sldMkLst>
        <pc:spChg chg="mod">
          <ac:chgData name="Rebelo, Kristen E. (DOT)" userId="S::kristen.e.rebelo@dot.state.ma.us::f8539648-947b-45d6-a2cd-2248a6f0ade9" providerId="AD" clId="Web-{C731ED91-16FB-606F-D03C-D360EA663BAA}" dt="2025-06-03T14:45:52.196" v="1" actId="20577"/>
          <ac:spMkLst>
            <pc:docMk/>
            <pc:sldMk cId="2976025070" sldId="2147483525"/>
            <ac:spMk id="2" creationId="{AF1B48F2-D255-BBE0-0463-2E720B4D684F}"/>
          </ac:spMkLst>
        </pc:spChg>
      </pc:sldChg>
    </pc:docChg>
  </pc:docChgLst>
  <pc:docChgLst>
    <pc:chgData name="Strain, Mallory (A&amp;F)" userId="7f2f9c2c-98ee-44e6-afe8-8ea6a9111392" providerId="ADAL" clId="{7122794A-29E6-4A05-AEB3-68EB6471BD27}"/>
    <pc:docChg chg="delSld modSld sldOrd">
      <pc:chgData name="Strain, Mallory (A&amp;F)" userId="7f2f9c2c-98ee-44e6-afe8-8ea6a9111392" providerId="ADAL" clId="{7122794A-29E6-4A05-AEB3-68EB6471BD27}" dt="2025-02-11T17:59:22.598" v="72" actId="2696"/>
      <pc:docMkLst>
        <pc:docMk/>
      </pc:docMkLst>
      <pc:sldChg chg="ord">
        <pc:chgData name="Strain, Mallory (A&amp;F)" userId="7f2f9c2c-98ee-44e6-afe8-8ea6a9111392" providerId="ADAL" clId="{7122794A-29E6-4A05-AEB3-68EB6471BD27}" dt="2025-02-10T17:23:01.388" v="15"/>
        <pc:sldMkLst>
          <pc:docMk/>
          <pc:sldMk cId="1706473524" sldId="256"/>
        </pc:sldMkLst>
      </pc:sldChg>
      <pc:sldChg chg="ord">
        <pc:chgData name="Strain, Mallory (A&amp;F)" userId="7f2f9c2c-98ee-44e6-afe8-8ea6a9111392" providerId="ADAL" clId="{7122794A-29E6-4A05-AEB3-68EB6471BD27}" dt="2025-02-10T20:42:23.983" v="60"/>
        <pc:sldMkLst>
          <pc:docMk/>
          <pc:sldMk cId="2134816594" sldId="2147481244"/>
        </pc:sldMkLst>
      </pc:sldChg>
      <pc:sldChg chg="modSp mod ord modCm">
        <pc:chgData name="Strain, Mallory (A&amp;F)" userId="7f2f9c2c-98ee-44e6-afe8-8ea6a9111392" providerId="ADAL" clId="{7122794A-29E6-4A05-AEB3-68EB6471BD27}" dt="2025-02-10T19:09:30.222" v="58" actId="20577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7f2f9c2c-98ee-44e6-afe8-8ea6a9111392" providerId="ADAL" clId="{7122794A-29E6-4A05-AEB3-68EB6471BD27}" dt="2025-02-10T19:09:30.222" v="58" actId="20577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</pc226:cmChg>
          </p:ext>
        </pc:extLst>
      </pc:sldChg>
      <pc:sldChg chg="ord">
        <pc:chgData name="Strain, Mallory (A&amp;F)" userId="7f2f9c2c-98ee-44e6-afe8-8ea6a9111392" providerId="ADAL" clId="{7122794A-29E6-4A05-AEB3-68EB6471BD27}" dt="2025-02-09T23:57:34.766" v="2"/>
        <pc:sldMkLst>
          <pc:docMk/>
          <pc:sldMk cId="3090884649" sldId="2147481286"/>
        </pc:sldMkLst>
      </pc:sldChg>
      <pc:sldChg chg="del">
        <pc:chgData name="Strain, Mallory (A&amp;F)" userId="7f2f9c2c-98ee-44e6-afe8-8ea6a9111392" providerId="ADAL" clId="{7122794A-29E6-4A05-AEB3-68EB6471BD27}" dt="2025-02-11T17:59:14.973" v="69" actId="2696"/>
        <pc:sldMkLst>
          <pc:docMk/>
          <pc:sldMk cId="2520700039" sldId="2147481515"/>
        </pc:sldMkLst>
      </pc:sldChg>
      <pc:sldChg chg="del">
        <pc:chgData name="Strain, Mallory (A&amp;F)" userId="7f2f9c2c-98ee-44e6-afe8-8ea6a9111392" providerId="ADAL" clId="{7122794A-29E6-4A05-AEB3-68EB6471BD27}" dt="2025-02-11T17:58:56.353" v="64" actId="2696"/>
        <pc:sldMkLst>
          <pc:docMk/>
          <pc:sldMk cId="746616314" sldId="2147481523"/>
        </pc:sldMkLst>
      </pc:sldChg>
      <pc:sldChg chg="ord">
        <pc:chgData name="Strain, Mallory (A&amp;F)" userId="7f2f9c2c-98ee-44e6-afe8-8ea6a9111392" providerId="ADAL" clId="{7122794A-29E6-4A05-AEB3-68EB6471BD27}" dt="2025-02-10T20:42:26.805" v="62"/>
        <pc:sldMkLst>
          <pc:docMk/>
          <pc:sldMk cId="2934033854" sldId="2147481531"/>
        </pc:sldMkLst>
      </pc:sldChg>
      <pc:sldChg chg="del">
        <pc:chgData name="Strain, Mallory (A&amp;F)" userId="7f2f9c2c-98ee-44e6-afe8-8ea6a9111392" providerId="ADAL" clId="{7122794A-29E6-4A05-AEB3-68EB6471BD27}" dt="2025-02-11T17:59:02.469" v="65" actId="2696"/>
        <pc:sldMkLst>
          <pc:docMk/>
          <pc:sldMk cId="1499155871" sldId="2147481536"/>
        </pc:sldMkLst>
      </pc:sldChg>
      <pc:sldChg chg="ord">
        <pc:chgData name="Strain, Mallory (A&amp;F)" userId="7f2f9c2c-98ee-44e6-afe8-8ea6a9111392" providerId="ADAL" clId="{7122794A-29E6-4A05-AEB3-68EB6471BD27}" dt="2025-02-10T19:08:44.090" v="19"/>
        <pc:sldMkLst>
          <pc:docMk/>
          <pc:sldMk cId="2733478352" sldId="2147481541"/>
        </pc:sldMkLst>
      </pc:sldChg>
      <pc:sldChg chg="ord">
        <pc:chgData name="Strain, Mallory (A&amp;F)" userId="7f2f9c2c-98ee-44e6-afe8-8ea6a9111392" providerId="ADAL" clId="{7122794A-29E6-4A05-AEB3-68EB6471BD27}" dt="2025-02-09T23:59:30.709" v="13"/>
        <pc:sldMkLst>
          <pc:docMk/>
          <pc:sldMk cId="719758237" sldId="2147481542"/>
        </pc:sldMkLst>
      </pc:sldChg>
      <pc:sldChg chg="ord">
        <pc:chgData name="Strain, Mallory (A&amp;F)" userId="7f2f9c2c-98ee-44e6-afe8-8ea6a9111392" providerId="ADAL" clId="{7122794A-29E6-4A05-AEB3-68EB6471BD27}" dt="2025-02-09T23:58:33.713" v="9"/>
        <pc:sldMkLst>
          <pc:docMk/>
          <pc:sldMk cId="2126720455" sldId="2147481550"/>
        </pc:sldMkLst>
      </pc:sldChg>
      <pc:sldChg chg="mod modShow">
        <pc:chgData name="Strain, Mallory (A&amp;F)" userId="7f2f9c2c-98ee-44e6-afe8-8ea6a9111392" providerId="ADAL" clId="{7122794A-29E6-4A05-AEB3-68EB6471BD27}" dt="2025-02-09T23:56:40.959" v="0" actId="729"/>
        <pc:sldMkLst>
          <pc:docMk/>
          <pc:sldMk cId="2353380868" sldId="2147483468"/>
        </pc:sldMkLst>
      </pc:sldChg>
      <pc:sldChg chg="mod modShow">
        <pc:chgData name="Strain, Mallory (A&amp;F)" userId="7f2f9c2c-98ee-44e6-afe8-8ea6a9111392" providerId="ADAL" clId="{7122794A-29E6-4A05-AEB3-68EB6471BD27}" dt="2025-02-11T17:55:23.278" v="63" actId="729"/>
        <pc:sldMkLst>
          <pc:docMk/>
          <pc:sldMk cId="2936321618" sldId="2147483469"/>
        </pc:sldMkLst>
      </pc:sldChg>
      <pc:sldChg chg="del">
        <pc:chgData name="Strain, Mallory (A&amp;F)" userId="7f2f9c2c-98ee-44e6-afe8-8ea6a9111392" providerId="ADAL" clId="{7122794A-29E6-4A05-AEB3-68EB6471BD27}" dt="2025-02-11T17:59:22.598" v="72" actId="2696"/>
        <pc:sldMkLst>
          <pc:docMk/>
          <pc:sldMk cId="2321386079" sldId="2147483471"/>
        </pc:sldMkLst>
      </pc:sldChg>
      <pc:sldChg chg="del">
        <pc:chgData name="Strain, Mallory (A&amp;F)" userId="7f2f9c2c-98ee-44e6-afe8-8ea6a9111392" providerId="ADAL" clId="{7122794A-29E6-4A05-AEB3-68EB6471BD27}" dt="2025-02-11T17:59:11.932" v="68" actId="2696"/>
        <pc:sldMkLst>
          <pc:docMk/>
          <pc:sldMk cId="1721683067" sldId="2147483479"/>
        </pc:sldMkLst>
      </pc:sldChg>
      <pc:sldChg chg="del">
        <pc:chgData name="Strain, Mallory (A&amp;F)" userId="7f2f9c2c-98ee-44e6-afe8-8ea6a9111392" providerId="ADAL" clId="{7122794A-29E6-4A05-AEB3-68EB6471BD27}" dt="2025-02-11T17:59:07.308" v="66" actId="2696"/>
        <pc:sldMkLst>
          <pc:docMk/>
          <pc:sldMk cId="976800554" sldId="2147483480"/>
        </pc:sldMkLst>
      </pc:sldChg>
      <pc:sldChg chg="del">
        <pc:chgData name="Strain, Mallory (A&amp;F)" userId="7f2f9c2c-98ee-44e6-afe8-8ea6a9111392" providerId="ADAL" clId="{7122794A-29E6-4A05-AEB3-68EB6471BD27}" dt="2025-02-11T17:59:20.358" v="71" actId="2696"/>
        <pc:sldMkLst>
          <pc:docMk/>
          <pc:sldMk cId="1962231768" sldId="2147483481"/>
        </pc:sldMkLst>
      </pc:sldChg>
      <pc:sldChg chg="del">
        <pc:chgData name="Strain, Mallory (A&amp;F)" userId="7f2f9c2c-98ee-44e6-afe8-8ea6a9111392" providerId="ADAL" clId="{7122794A-29E6-4A05-AEB3-68EB6471BD27}" dt="2025-02-11T17:59:09.924" v="67" actId="2696"/>
        <pc:sldMkLst>
          <pc:docMk/>
          <pc:sldMk cId="2185845481" sldId="2147483482"/>
        </pc:sldMkLst>
      </pc:sldChg>
      <pc:sldChg chg="del">
        <pc:chgData name="Strain, Mallory (A&amp;F)" userId="7f2f9c2c-98ee-44e6-afe8-8ea6a9111392" providerId="ADAL" clId="{7122794A-29E6-4A05-AEB3-68EB6471BD27}" dt="2025-02-11T17:59:18.094" v="70" actId="2696"/>
        <pc:sldMkLst>
          <pc:docMk/>
          <pc:sldMk cId="2801004244" sldId="2147483483"/>
        </pc:sldMkLst>
      </pc:sldChg>
    </pc:docChg>
  </pc:docChgLst>
  <pc:docChgLst>
    <pc:chgData name="Jauhar, Mehar (A&amp;F)" userId="S::mehar.jauhar@mass.gov::6b184fc0-f80d-46ab-a4ba-4a5755ad07a6" providerId="AD" clId="Web-{D9D7D3B8-1A2A-4A60-BB29-C6F869D8ED2D}"/>
    <pc:docChg chg="modSld">
      <pc:chgData name="Jauhar, Mehar (A&amp;F)" userId="S::mehar.jauhar@mass.gov::6b184fc0-f80d-46ab-a4ba-4a5755ad07a6" providerId="AD" clId="Web-{D9D7D3B8-1A2A-4A60-BB29-C6F869D8ED2D}" dt="2025-03-04T15:30:26.277" v="3" actId="20577"/>
      <pc:docMkLst>
        <pc:docMk/>
      </pc:docMkLst>
      <pc:sldChg chg="modSp modCm">
        <pc:chgData name="Jauhar, Mehar (A&amp;F)" userId="S::mehar.jauhar@mass.gov::6b184fc0-f80d-46ab-a4ba-4a5755ad07a6" providerId="AD" clId="Web-{D9D7D3B8-1A2A-4A60-BB29-C6F869D8ED2D}" dt="2025-03-04T15:30:26.277" v="3" actId="20577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S::mehar.jauhar@mass.gov::6b184fc0-f80d-46ab-a4ba-4a5755ad07a6" providerId="AD" clId="Web-{D9D7D3B8-1A2A-4A60-BB29-C6F869D8ED2D}" dt="2025-03-04T15:30:25.496" v="2" actId="20577"/>
              <pc2:cmMkLst xmlns:pc2="http://schemas.microsoft.com/office/powerpoint/2019/9/main/command">
                <pc:docMk/>
                <pc:sldMk cId="2126720455" sldId="2147481550"/>
                <pc2:cmMk id="{EF6F63FD-6706-1A4A-A718-73B309EE340B}"/>
              </pc2:cmMkLst>
            </pc226:cmChg>
          </p:ext>
        </pc:extLst>
      </pc:sldChg>
    </pc:docChg>
  </pc:docChgLst>
  <pc:docChgLst>
    <pc:chgData name="Strain, Mallory (A&amp;F)" userId="S::mallory.strain@mass.gov::7f2f9c2c-98ee-44e6-afe8-8ea6a9111392" providerId="AD" clId="Web-{AEBBDC36-918F-D020-1C30-B65237F8F714}"/>
    <pc:docChg chg="modSld sldOrd">
      <pc:chgData name="Strain, Mallory (A&amp;F)" userId="S::mallory.strain@mass.gov::7f2f9c2c-98ee-44e6-afe8-8ea6a9111392" providerId="AD" clId="Web-{AEBBDC36-918F-D020-1C30-B65237F8F714}" dt="2025-03-24T18:08:56.061" v="431"/>
      <pc:docMkLst>
        <pc:docMk/>
      </pc:docMkLst>
      <pc:sldChg chg="modSp modCm">
        <pc:chgData name="Strain, Mallory (A&amp;F)" userId="S::mallory.strain@mass.gov::7f2f9c2c-98ee-44e6-afe8-8ea6a9111392" providerId="AD" clId="Web-{AEBBDC36-918F-D020-1C30-B65237F8F714}" dt="2025-03-24T17:38:59.398" v="55" actId="20577"/>
        <pc:sldMkLst>
          <pc:docMk/>
          <pc:sldMk cId="2568010536" sldId="27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AEBBDC36-918F-D020-1C30-B65237F8F714}" dt="2025-03-24T17:38:57.461" v="54" actId="20577"/>
              <pc2:cmMkLst xmlns:pc2="http://schemas.microsoft.com/office/powerpoint/2019/9/main/command">
                <pc:docMk/>
                <pc:sldMk cId="2568010536" sldId="276"/>
                <pc2:cmMk id="{0D321946-6FC3-CB44-B273-9D68E8AF4124}"/>
              </pc2:cmMkLst>
            </pc226:cmChg>
          </p:ext>
        </pc:extLst>
      </pc:sldChg>
      <pc:sldChg chg="modSp">
        <pc:chgData name="Strain, Mallory (A&amp;F)" userId="S::mallory.strain@mass.gov::7f2f9c2c-98ee-44e6-afe8-8ea6a9111392" providerId="AD" clId="Web-{AEBBDC36-918F-D020-1C30-B65237F8F714}" dt="2025-03-24T18:08:51.780" v="430"/>
        <pc:sldMkLst>
          <pc:docMk/>
          <pc:sldMk cId="1721034712" sldId="2147481527"/>
        </pc:sldMkLst>
      </pc:sldChg>
      <pc:sldChg chg="ord">
        <pc:chgData name="Strain, Mallory (A&amp;F)" userId="S::mallory.strain@mass.gov::7f2f9c2c-98ee-44e6-afe8-8ea6a9111392" providerId="AD" clId="Web-{AEBBDC36-918F-D020-1C30-B65237F8F714}" dt="2025-03-24T17:58:29.049" v="61"/>
        <pc:sldMkLst>
          <pc:docMk/>
          <pc:sldMk cId="866654257" sldId="2147483472"/>
        </pc:sldMkLst>
      </pc:sldChg>
      <pc:sldChg chg="modSp mod modShow">
        <pc:chgData name="Strain, Mallory (A&amp;F)" userId="S::mallory.strain@mass.gov::7f2f9c2c-98ee-44e6-afe8-8ea6a9111392" providerId="AD" clId="Web-{AEBBDC36-918F-D020-1C30-B65237F8F714}" dt="2025-03-24T18:07:49.780" v="392"/>
        <pc:sldMkLst>
          <pc:docMk/>
          <pc:sldMk cId="3379675862" sldId="2147483477"/>
        </pc:sldMkLst>
      </pc:sldChg>
      <pc:sldChg chg="addSp delSp modSp">
        <pc:chgData name="Strain, Mallory (A&amp;F)" userId="S::mallory.strain@mass.gov::7f2f9c2c-98ee-44e6-afe8-8ea6a9111392" providerId="AD" clId="Web-{AEBBDC36-918F-D020-1C30-B65237F8F714}" dt="2025-03-24T18:04:46.453" v="391"/>
        <pc:sldMkLst>
          <pc:docMk/>
          <pc:sldMk cId="3830842327" sldId="2147483487"/>
        </pc:sldMkLst>
      </pc:sldChg>
      <pc:sldChg chg="ord">
        <pc:chgData name="Strain, Mallory (A&amp;F)" userId="S::mallory.strain@mass.gov::7f2f9c2c-98ee-44e6-afe8-8ea6a9111392" providerId="AD" clId="Web-{AEBBDC36-918F-D020-1C30-B65237F8F714}" dt="2025-03-24T18:01:44.251" v="156"/>
        <pc:sldMkLst>
          <pc:docMk/>
          <pc:sldMk cId="2318375095" sldId="2147483508"/>
        </pc:sldMkLst>
      </pc:sldChg>
      <pc:sldChg chg="mod modShow">
        <pc:chgData name="Strain, Mallory (A&amp;F)" userId="S::mallory.strain@mass.gov::7f2f9c2c-98ee-44e6-afe8-8ea6a9111392" providerId="AD" clId="Web-{AEBBDC36-918F-D020-1C30-B65237F8F714}" dt="2025-03-24T18:08:56.061" v="431"/>
        <pc:sldMkLst>
          <pc:docMk/>
          <pc:sldMk cId="202134423" sldId="2147483509"/>
        </pc:sldMkLst>
      </pc:sldChg>
    </pc:docChg>
  </pc:docChgLst>
  <pc:docChgLst>
    <pc:chgData name="Jauhar, Mehar (A&amp;F)" userId="6b184fc0-f80d-46ab-a4ba-4a5755ad07a6" providerId="ADAL" clId="{CFBDCC8A-9C63-4EA9-A8F0-AC69A1AAC8C3}"/>
    <pc:docChg chg="undo redo custSel addSld delSld modSld">
      <pc:chgData name="Jauhar, Mehar (A&amp;F)" userId="6b184fc0-f80d-46ab-a4ba-4a5755ad07a6" providerId="ADAL" clId="{CFBDCC8A-9C63-4EA9-A8F0-AC69A1AAC8C3}" dt="2025-06-02T21:11:55.227" v="244" actId="20577"/>
      <pc:docMkLst>
        <pc:docMk/>
      </pc:docMkLst>
      <pc:sldChg chg="modSp mod">
        <pc:chgData name="Jauhar, Mehar (A&amp;F)" userId="6b184fc0-f80d-46ab-a4ba-4a5755ad07a6" providerId="ADAL" clId="{CFBDCC8A-9C63-4EA9-A8F0-AC69A1AAC8C3}" dt="2025-06-02T20:22:21.568" v="83" actId="20577"/>
        <pc:sldMkLst>
          <pc:docMk/>
          <pc:sldMk cId="1706473524" sldId="256"/>
        </pc:sldMkLst>
        <pc:spChg chg="mod">
          <ac:chgData name="Jauhar, Mehar (A&amp;F)" userId="6b184fc0-f80d-46ab-a4ba-4a5755ad07a6" providerId="ADAL" clId="{CFBDCC8A-9C63-4EA9-A8F0-AC69A1AAC8C3}" dt="2025-06-02T20:22:21.568" v="83" actId="20577"/>
          <ac:spMkLst>
            <pc:docMk/>
            <pc:sldMk cId="1706473524" sldId="256"/>
            <ac:spMk id="3" creationId="{6BF96C16-BDB2-15EE-4778-FA5D2DB3A873}"/>
          </ac:spMkLst>
        </pc:spChg>
      </pc:sldChg>
      <pc:sldChg chg="modSp mod">
        <pc:chgData name="Jauhar, Mehar (A&amp;F)" userId="6b184fc0-f80d-46ab-a4ba-4a5755ad07a6" providerId="ADAL" clId="{CFBDCC8A-9C63-4EA9-A8F0-AC69A1AAC8C3}" dt="2025-06-02T21:11:55.227" v="244" actId="20577"/>
        <pc:sldMkLst>
          <pc:docMk/>
          <pc:sldMk cId="2266968594" sldId="257"/>
        </pc:sldMkLst>
        <pc:spChg chg="mod">
          <ac:chgData name="Jauhar, Mehar (A&amp;F)" userId="6b184fc0-f80d-46ab-a4ba-4a5755ad07a6" providerId="ADAL" clId="{CFBDCC8A-9C63-4EA9-A8F0-AC69A1AAC8C3}" dt="2025-06-02T21:11:55.227" v="244" actId="20577"/>
          <ac:spMkLst>
            <pc:docMk/>
            <pc:sldMk cId="2266968594" sldId="257"/>
            <ac:spMk id="16" creationId="{C1E870C5-37B9-F0CB-E8F5-BCA57428FB08}"/>
          </ac:spMkLst>
        </pc:spChg>
      </pc:sldChg>
      <pc:sldChg chg="modSp mod">
        <pc:chgData name="Jauhar, Mehar (A&amp;F)" userId="6b184fc0-f80d-46ab-a4ba-4a5755ad07a6" providerId="ADAL" clId="{CFBDCC8A-9C63-4EA9-A8F0-AC69A1AAC8C3}" dt="2025-06-02T21:02:36.584" v="233" actId="5793"/>
        <pc:sldMkLst>
          <pc:docMk/>
          <pc:sldMk cId="1949611792" sldId="2147483522"/>
        </pc:sldMkLst>
        <pc:spChg chg="mod">
          <ac:chgData name="Jauhar, Mehar (A&amp;F)" userId="6b184fc0-f80d-46ab-a4ba-4a5755ad07a6" providerId="ADAL" clId="{CFBDCC8A-9C63-4EA9-A8F0-AC69A1AAC8C3}" dt="2025-06-02T21:02:36.584" v="233" actId="5793"/>
          <ac:spMkLst>
            <pc:docMk/>
            <pc:sldMk cId="1949611792" sldId="2147483522"/>
            <ac:spMk id="11" creationId="{C99D162D-B2EC-B50A-919C-1363298DF8EA}"/>
          </ac:spMkLst>
        </pc:spChg>
      </pc:sldChg>
      <pc:sldChg chg="addSp delSp modSp mod">
        <pc:chgData name="Jauhar, Mehar (A&amp;F)" userId="6b184fc0-f80d-46ab-a4ba-4a5755ad07a6" providerId="ADAL" clId="{CFBDCC8A-9C63-4EA9-A8F0-AC69A1AAC8C3}" dt="2025-06-02T20:25:06.388" v="96" actId="14826"/>
        <pc:sldMkLst>
          <pc:docMk/>
          <pc:sldMk cId="2756520490" sldId="2147483524"/>
        </pc:sldMkLst>
        <pc:spChg chg="mod">
          <ac:chgData name="Jauhar, Mehar (A&amp;F)" userId="6b184fc0-f80d-46ab-a4ba-4a5755ad07a6" providerId="ADAL" clId="{CFBDCC8A-9C63-4EA9-A8F0-AC69A1AAC8C3}" dt="2025-06-02T20:24:51.538" v="94" actId="1076"/>
          <ac:spMkLst>
            <pc:docMk/>
            <pc:sldMk cId="2756520490" sldId="2147483524"/>
            <ac:spMk id="5" creationId="{6E1EECB5-E59E-617E-1A65-A11915846272}"/>
          </ac:spMkLst>
        </pc:spChg>
        <pc:picChg chg="mod">
          <ac:chgData name="Jauhar, Mehar (A&amp;F)" userId="6b184fc0-f80d-46ab-a4ba-4a5755ad07a6" providerId="ADAL" clId="{CFBDCC8A-9C63-4EA9-A8F0-AC69A1AAC8C3}" dt="2025-06-02T20:25:06.388" v="96" actId="14826"/>
          <ac:picMkLst>
            <pc:docMk/>
            <pc:sldMk cId="2756520490" sldId="2147483524"/>
            <ac:picMk id="4" creationId="{B4E2242C-82E8-D3DC-02DB-C1379B48FAB6}"/>
          </ac:picMkLst>
        </pc:picChg>
        <pc:picChg chg="add mod">
          <ac:chgData name="Jauhar, Mehar (A&amp;F)" userId="6b184fc0-f80d-46ab-a4ba-4a5755ad07a6" providerId="ADAL" clId="{CFBDCC8A-9C63-4EA9-A8F0-AC69A1AAC8C3}" dt="2025-06-02T20:24:57.682" v="95" actId="1076"/>
          <ac:picMkLst>
            <pc:docMk/>
            <pc:sldMk cId="2756520490" sldId="2147483524"/>
            <ac:picMk id="6" creationId="{5E89BE6B-101D-FB0A-4F61-4C8FE0B0FE1B}"/>
          </ac:picMkLst>
        </pc:picChg>
      </pc:sldChg>
      <pc:sldChg chg="modSp mod">
        <pc:chgData name="Jauhar, Mehar (A&amp;F)" userId="6b184fc0-f80d-46ab-a4ba-4a5755ad07a6" providerId="ADAL" clId="{CFBDCC8A-9C63-4EA9-A8F0-AC69A1AAC8C3}" dt="2025-06-02T21:01:43.691" v="229" actId="13926"/>
        <pc:sldMkLst>
          <pc:docMk/>
          <pc:sldMk cId="927177935" sldId="2147483527"/>
        </pc:sldMkLst>
        <pc:graphicFrameChg chg="mod modGraphic">
          <ac:chgData name="Jauhar, Mehar (A&amp;F)" userId="6b184fc0-f80d-46ab-a4ba-4a5755ad07a6" providerId="ADAL" clId="{CFBDCC8A-9C63-4EA9-A8F0-AC69A1AAC8C3}" dt="2025-06-02T21:01:43.691" v="229" actId="13926"/>
          <ac:graphicFrameMkLst>
            <pc:docMk/>
            <pc:sldMk cId="927177935" sldId="2147483527"/>
            <ac:graphicFrameMk id="6" creationId="{4C906486-E95B-F55A-6695-30C3148FF2F2}"/>
          </ac:graphicFrameMkLst>
        </pc:graphicFrameChg>
      </pc:sldChg>
      <pc:sldChg chg="modSp mod">
        <pc:chgData name="Jauhar, Mehar (A&amp;F)" userId="6b184fc0-f80d-46ab-a4ba-4a5755ad07a6" providerId="ADAL" clId="{CFBDCC8A-9C63-4EA9-A8F0-AC69A1AAC8C3}" dt="2025-06-02T20:27:38.201" v="100" actId="2164"/>
        <pc:sldMkLst>
          <pc:docMk/>
          <pc:sldMk cId="2459882351" sldId="2147483534"/>
        </pc:sldMkLst>
        <pc:graphicFrameChg chg="modGraphic">
          <ac:chgData name="Jauhar, Mehar (A&amp;F)" userId="6b184fc0-f80d-46ab-a4ba-4a5755ad07a6" providerId="ADAL" clId="{CFBDCC8A-9C63-4EA9-A8F0-AC69A1AAC8C3}" dt="2025-06-02T20:27:38.201" v="100" actId="2164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  <pc:sldChg chg="add del">
        <pc:chgData name="Jauhar, Mehar (A&amp;F)" userId="6b184fc0-f80d-46ab-a4ba-4a5755ad07a6" providerId="ADAL" clId="{CFBDCC8A-9C63-4EA9-A8F0-AC69A1AAC8C3}" dt="2025-06-02T20:27:10.691" v="98" actId="47"/>
        <pc:sldMkLst>
          <pc:docMk/>
          <pc:sldMk cId="1733848689" sldId="2147483540"/>
        </pc:sldMkLst>
      </pc:sldChg>
      <pc:sldChg chg="modSp add mod">
        <pc:chgData name="Jauhar, Mehar (A&amp;F)" userId="6b184fc0-f80d-46ab-a4ba-4a5755ad07a6" providerId="ADAL" clId="{CFBDCC8A-9C63-4EA9-A8F0-AC69A1AAC8C3}" dt="2025-06-02T20:28:47.645" v="104" actId="2164"/>
        <pc:sldMkLst>
          <pc:docMk/>
          <pc:sldMk cId="3732393151" sldId="2147483540"/>
        </pc:sldMkLst>
        <pc:graphicFrameChg chg="modGraphic">
          <ac:chgData name="Jauhar, Mehar (A&amp;F)" userId="6b184fc0-f80d-46ab-a4ba-4a5755ad07a6" providerId="ADAL" clId="{CFBDCC8A-9C63-4EA9-A8F0-AC69A1AAC8C3}" dt="2025-06-02T20:28:47.645" v="104" actId="2164"/>
          <ac:graphicFrameMkLst>
            <pc:docMk/>
            <pc:sldMk cId="3732393151" sldId="2147483540"/>
            <ac:graphicFrameMk id="6" creationId="{6A6980E1-34F0-6FB4-7B9D-EBB8D9A4230E}"/>
          </ac:graphicFrameMkLst>
        </pc:graphicFrameChg>
      </pc:sldChg>
      <pc:sldChg chg="add del">
        <pc:chgData name="Jauhar, Mehar (A&amp;F)" userId="6b184fc0-f80d-46ab-a4ba-4a5755ad07a6" providerId="ADAL" clId="{CFBDCC8A-9C63-4EA9-A8F0-AC69A1AAC8C3}" dt="2025-06-02T20:27:13.805" v="99" actId="47"/>
        <pc:sldMkLst>
          <pc:docMk/>
          <pc:sldMk cId="3548385019" sldId="2147483541"/>
        </pc:sldMkLst>
      </pc:sldChg>
    </pc:docChg>
  </pc:docChgLst>
  <pc:docChgLst>
    <pc:chgData name="Strain, Mallory (A&amp;F)" userId="7f2f9c2c-98ee-44e6-afe8-8ea6a9111392" providerId="ADAL" clId="{D8EAD343-EDC1-4BFB-B0C3-CF75CA2B9E5E}"/>
    <pc:docChg chg="undo custSel addSld delSld modSld sldOrd">
      <pc:chgData name="Strain, Mallory (A&amp;F)" userId="7f2f9c2c-98ee-44e6-afe8-8ea6a9111392" providerId="ADAL" clId="{D8EAD343-EDC1-4BFB-B0C3-CF75CA2B9E5E}" dt="2025-03-31T16:04:03.297" v="309"/>
      <pc:docMkLst>
        <pc:docMk/>
      </pc:docMkLst>
      <pc:sldChg chg="add">
        <pc:chgData name="Strain, Mallory (A&amp;F)" userId="7f2f9c2c-98ee-44e6-afe8-8ea6a9111392" providerId="ADAL" clId="{D8EAD343-EDC1-4BFB-B0C3-CF75CA2B9E5E}" dt="2025-03-24T18:59:23.958" v="45"/>
        <pc:sldMkLst>
          <pc:docMk/>
          <pc:sldMk cId="585180634" sldId="261"/>
        </pc:sldMkLst>
      </pc:sldChg>
      <pc:sldChg chg="add">
        <pc:chgData name="Strain, Mallory (A&amp;F)" userId="7f2f9c2c-98ee-44e6-afe8-8ea6a9111392" providerId="ADAL" clId="{D8EAD343-EDC1-4BFB-B0C3-CF75CA2B9E5E}" dt="2025-03-24T18:59:29.819" v="56"/>
        <pc:sldMkLst>
          <pc:docMk/>
          <pc:sldMk cId="1715288806" sldId="270"/>
        </pc:sldMkLst>
      </pc:sldChg>
      <pc:sldChg chg="add">
        <pc:chgData name="Strain, Mallory (A&amp;F)" userId="7f2f9c2c-98ee-44e6-afe8-8ea6a9111392" providerId="ADAL" clId="{D8EAD343-EDC1-4BFB-B0C3-CF75CA2B9E5E}" dt="2025-03-24T18:59:24.666" v="47"/>
        <pc:sldMkLst>
          <pc:docMk/>
          <pc:sldMk cId="1280680524" sldId="274"/>
        </pc:sldMkLst>
      </pc:sldChg>
      <pc:sldChg chg="add">
        <pc:chgData name="Strain, Mallory (A&amp;F)" userId="7f2f9c2c-98ee-44e6-afe8-8ea6a9111392" providerId="ADAL" clId="{D8EAD343-EDC1-4BFB-B0C3-CF75CA2B9E5E}" dt="2025-03-24T18:59:27.224" v="52"/>
        <pc:sldMkLst>
          <pc:docMk/>
          <pc:sldMk cId="135847137" sldId="275"/>
        </pc:sldMkLst>
      </pc:sldChg>
      <pc:sldChg chg="add">
        <pc:chgData name="Strain, Mallory (A&amp;F)" userId="7f2f9c2c-98ee-44e6-afe8-8ea6a9111392" providerId="ADAL" clId="{D8EAD343-EDC1-4BFB-B0C3-CF75CA2B9E5E}" dt="2025-03-24T18:59:25.897" v="49"/>
        <pc:sldMkLst>
          <pc:docMk/>
          <pc:sldMk cId="51668868" sldId="290"/>
        </pc:sldMkLst>
      </pc:sldChg>
      <pc:sldChg chg="add">
        <pc:chgData name="Strain, Mallory (A&amp;F)" userId="7f2f9c2c-98ee-44e6-afe8-8ea6a9111392" providerId="ADAL" clId="{D8EAD343-EDC1-4BFB-B0C3-CF75CA2B9E5E}" dt="2025-03-24T18:59:28.867" v="54"/>
        <pc:sldMkLst>
          <pc:docMk/>
          <pc:sldMk cId="1212700954" sldId="296"/>
        </pc:sldMkLst>
      </pc:sldChg>
      <pc:sldChg chg="add">
        <pc:chgData name="Strain, Mallory (A&amp;F)" userId="7f2f9c2c-98ee-44e6-afe8-8ea6a9111392" providerId="ADAL" clId="{D8EAD343-EDC1-4BFB-B0C3-CF75CA2B9E5E}" dt="2025-03-24T18:59:27.662" v="53"/>
        <pc:sldMkLst>
          <pc:docMk/>
          <pc:sldMk cId="2358205091" sldId="299"/>
        </pc:sldMkLst>
      </pc:sldChg>
      <pc:sldChg chg="add">
        <pc:chgData name="Strain, Mallory (A&amp;F)" userId="7f2f9c2c-98ee-44e6-afe8-8ea6a9111392" providerId="ADAL" clId="{D8EAD343-EDC1-4BFB-B0C3-CF75CA2B9E5E}" dt="2025-03-24T18:59:25.120" v="48"/>
        <pc:sldMkLst>
          <pc:docMk/>
          <pc:sldMk cId="3597693600" sldId="300"/>
        </pc:sldMkLst>
      </pc:sldChg>
      <pc:sldChg chg="add">
        <pc:chgData name="Strain, Mallory (A&amp;F)" userId="7f2f9c2c-98ee-44e6-afe8-8ea6a9111392" providerId="ADAL" clId="{D8EAD343-EDC1-4BFB-B0C3-CF75CA2B9E5E}" dt="2025-03-24T18:59:26.233" v="50"/>
        <pc:sldMkLst>
          <pc:docMk/>
          <pc:sldMk cId="2512860034" sldId="302"/>
        </pc:sldMkLst>
      </pc:sldChg>
      <pc:sldChg chg="add">
        <pc:chgData name="Strain, Mallory (A&amp;F)" userId="7f2f9c2c-98ee-44e6-afe8-8ea6a9111392" providerId="ADAL" clId="{D8EAD343-EDC1-4BFB-B0C3-CF75CA2B9E5E}" dt="2025-03-24T18:59:24.295" v="46"/>
        <pc:sldMkLst>
          <pc:docMk/>
          <pc:sldMk cId="2076977232" sldId="303"/>
        </pc:sldMkLst>
      </pc:sldChg>
      <pc:sldChg chg="add">
        <pc:chgData name="Strain, Mallory (A&amp;F)" userId="7f2f9c2c-98ee-44e6-afe8-8ea6a9111392" providerId="ADAL" clId="{D8EAD343-EDC1-4BFB-B0C3-CF75CA2B9E5E}" dt="2025-03-24T18:59:29.334" v="55"/>
        <pc:sldMkLst>
          <pc:docMk/>
          <pc:sldMk cId="3656620768" sldId="304"/>
        </pc:sldMkLst>
      </pc:sldChg>
      <pc:sldChg chg="modSp mod modCm">
        <pc:chgData name="Strain, Mallory (A&amp;F)" userId="7f2f9c2c-98ee-44e6-afe8-8ea6a9111392" providerId="ADAL" clId="{D8EAD343-EDC1-4BFB-B0C3-CF75CA2B9E5E}" dt="2025-03-24T20:12:34.266" v="304" actId="1076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7f2f9c2c-98ee-44e6-afe8-8ea6a9111392" providerId="ADAL" clId="{D8EAD343-EDC1-4BFB-B0C3-CF75CA2B9E5E}" dt="2025-03-24T20:12:25.226" v="303" actId="20577"/>
              <pc2:cmMkLst xmlns:pc2="http://schemas.microsoft.com/office/powerpoint/2019/9/main/command">
                <pc:docMk/>
                <pc:sldMk cId="1561720608" sldId="2147481257"/>
                <pc2:cmMk id="{936FA0B9-567C-EA4E-80F8-6D3B1903E9D6}"/>
              </pc2:cmMkLst>
            </pc226:cmChg>
          </p:ext>
        </pc:extLst>
      </pc:sldChg>
      <pc:sldChg chg="modSp mod modCm">
        <pc:chgData name="Strain, Mallory (A&amp;F)" userId="7f2f9c2c-98ee-44e6-afe8-8ea6a9111392" providerId="ADAL" clId="{D8EAD343-EDC1-4BFB-B0C3-CF75CA2B9E5E}" dt="2025-03-24T20:04:28.390" v="95" actId="20577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7f2f9c2c-98ee-44e6-afe8-8ea6a9111392" providerId="ADAL" clId="{D8EAD343-EDC1-4BFB-B0C3-CF75CA2B9E5E}" dt="2025-03-24T20:04:28.390" v="95" actId="20577"/>
              <pc2:cmMkLst xmlns:pc2="http://schemas.microsoft.com/office/powerpoint/2019/9/main/command">
                <pc:docMk/>
                <pc:sldMk cId="2126720455" sldId="2147481550"/>
                <pc2:cmMk id="{2DE230B2-5893-AB4D-81B1-266EF1E192F9}"/>
              </pc2:cmMkLst>
            </pc226:cmChg>
          </p:ext>
        </pc:extLst>
      </pc:sldChg>
      <pc:sldChg chg="del">
        <pc:chgData name="Strain, Mallory (A&amp;F)" userId="7f2f9c2c-98ee-44e6-afe8-8ea6a9111392" providerId="ADAL" clId="{D8EAD343-EDC1-4BFB-B0C3-CF75CA2B9E5E}" dt="2025-03-31T16:03:17.149" v="306" actId="2696"/>
        <pc:sldMkLst>
          <pc:docMk/>
          <pc:sldMk cId="3379675862" sldId="2147483477"/>
        </pc:sldMkLst>
      </pc:sldChg>
      <pc:sldChg chg="modSp mod modCm">
        <pc:chgData name="Strain, Mallory (A&amp;F)" userId="7f2f9c2c-98ee-44e6-afe8-8ea6a9111392" providerId="ADAL" clId="{D8EAD343-EDC1-4BFB-B0C3-CF75CA2B9E5E}" dt="2025-03-24T18:29:19.174" v="43" actId="20577"/>
        <pc:sldMkLst>
          <pc:docMk/>
          <pc:sldMk cId="1741467460" sldId="214748348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7f2f9c2c-98ee-44e6-afe8-8ea6a9111392" providerId="ADAL" clId="{D8EAD343-EDC1-4BFB-B0C3-CF75CA2B9E5E}" dt="2025-03-24T18:29:19.174" v="43" actId="20577"/>
              <pc2:cmMkLst xmlns:pc2="http://schemas.microsoft.com/office/powerpoint/2019/9/main/command">
                <pc:docMk/>
                <pc:sldMk cId="1741467460" sldId="2147483486"/>
                <pc2:cmMk id="{C0EA50BB-706F-1F49-9B13-3F438BDF2EDD}"/>
              </pc2:cmMkLst>
            </pc226:cmChg>
          </p:ext>
        </pc:extLst>
      </pc:sldChg>
      <pc:sldChg chg="del">
        <pc:chgData name="Strain, Mallory (A&amp;F)" userId="7f2f9c2c-98ee-44e6-afe8-8ea6a9111392" providerId="ADAL" clId="{D8EAD343-EDC1-4BFB-B0C3-CF75CA2B9E5E}" dt="2025-03-31T16:03:19.296" v="307" actId="2696"/>
        <pc:sldMkLst>
          <pc:docMk/>
          <pc:sldMk cId="2318375095" sldId="2147483508"/>
        </pc:sldMkLst>
      </pc:sldChg>
      <pc:sldChg chg="del">
        <pc:chgData name="Strain, Mallory (A&amp;F)" userId="7f2f9c2c-98ee-44e6-afe8-8ea6a9111392" providerId="ADAL" clId="{D8EAD343-EDC1-4BFB-B0C3-CF75CA2B9E5E}" dt="2025-03-31T16:03:14.377" v="305" actId="2696"/>
        <pc:sldMkLst>
          <pc:docMk/>
          <pc:sldMk cId="202134423" sldId="2147483509"/>
        </pc:sldMkLst>
      </pc:sldChg>
      <pc:sldChg chg="del">
        <pc:chgData name="Strain, Mallory (A&amp;F)" userId="7f2f9c2c-98ee-44e6-afe8-8ea6a9111392" providerId="ADAL" clId="{D8EAD343-EDC1-4BFB-B0C3-CF75CA2B9E5E}" dt="2025-03-24T19:00:33.745" v="57" actId="2696"/>
        <pc:sldMkLst>
          <pc:docMk/>
          <pc:sldMk cId="4193757848" sldId="2147483517"/>
        </pc:sldMkLst>
      </pc:sldChg>
      <pc:sldChg chg="add">
        <pc:chgData name="Strain, Mallory (A&amp;F)" userId="7f2f9c2c-98ee-44e6-afe8-8ea6a9111392" providerId="ADAL" clId="{D8EAD343-EDC1-4BFB-B0C3-CF75CA2B9E5E}" dt="2025-03-24T18:59:23.346" v="44"/>
        <pc:sldMkLst>
          <pc:docMk/>
          <pc:sldMk cId="975129723" sldId="2147483519"/>
        </pc:sldMkLst>
      </pc:sldChg>
      <pc:sldChg chg="add">
        <pc:chgData name="Strain, Mallory (A&amp;F)" userId="7f2f9c2c-98ee-44e6-afe8-8ea6a9111392" providerId="ADAL" clId="{D8EAD343-EDC1-4BFB-B0C3-CF75CA2B9E5E}" dt="2025-03-24T18:59:26.703" v="51"/>
        <pc:sldMkLst>
          <pc:docMk/>
          <pc:sldMk cId="2478454308" sldId="2147483520"/>
        </pc:sldMkLst>
      </pc:sldChg>
      <pc:sldChg chg="ord modNotes">
        <pc:chgData name="Strain, Mallory (A&amp;F)" userId="7f2f9c2c-98ee-44e6-afe8-8ea6a9111392" providerId="ADAL" clId="{D8EAD343-EDC1-4BFB-B0C3-CF75CA2B9E5E}" dt="2025-03-31T16:04:03.297" v="309"/>
        <pc:sldMkLst>
          <pc:docMk/>
          <pc:sldMk cId="0" sldId="2147483521"/>
        </pc:sldMkLst>
      </pc:sldChg>
    </pc:docChg>
  </pc:docChgLst>
  <pc:docChgLst>
    <pc:chgData name="Jauhar, Mehar (A&amp;F)" userId="6b184fc0-f80d-46ab-a4ba-4a5755ad07a6" providerId="ADAL" clId="{8DA40FDF-764C-824F-8870-1D747CFBD321}"/>
    <pc:docChg chg="undo redo custSel addSld delSld modSld sldOrd delMainMaster">
      <pc:chgData name="Jauhar, Mehar (A&amp;F)" userId="6b184fc0-f80d-46ab-a4ba-4a5755ad07a6" providerId="ADAL" clId="{8DA40FDF-764C-824F-8870-1D747CFBD321}" dt="2025-05-20T21:12:08.730" v="893" actId="14734"/>
      <pc:docMkLst>
        <pc:docMk/>
      </pc:docMkLst>
      <pc:sldChg chg="modSp mod">
        <pc:chgData name="Jauhar, Mehar (A&amp;F)" userId="6b184fc0-f80d-46ab-a4ba-4a5755ad07a6" providerId="ADAL" clId="{8DA40FDF-764C-824F-8870-1D747CFBD321}" dt="2025-05-20T17:19:54.751" v="18" actId="20577"/>
        <pc:sldMkLst>
          <pc:docMk/>
          <pc:sldMk cId="1706473524" sldId="256"/>
        </pc:sldMkLst>
        <pc:spChg chg="mod">
          <ac:chgData name="Jauhar, Mehar (A&amp;F)" userId="6b184fc0-f80d-46ab-a4ba-4a5755ad07a6" providerId="ADAL" clId="{8DA40FDF-764C-824F-8870-1D747CFBD321}" dt="2025-05-20T17:19:54.751" v="18" actId="20577"/>
          <ac:spMkLst>
            <pc:docMk/>
            <pc:sldMk cId="1706473524" sldId="256"/>
            <ac:spMk id="3" creationId="{6BF96C16-BDB2-15EE-4778-FA5D2DB3A873}"/>
          </ac:spMkLst>
        </pc:spChg>
      </pc:sldChg>
      <pc:sldChg chg="del">
        <pc:chgData name="Jauhar, Mehar (A&amp;F)" userId="6b184fc0-f80d-46ab-a4ba-4a5755ad07a6" providerId="ADAL" clId="{8DA40FDF-764C-824F-8870-1D747CFBD321}" dt="2025-05-20T17:35:14.188" v="85" actId="2696"/>
        <pc:sldMkLst>
          <pc:docMk/>
          <pc:sldMk cId="1124631863" sldId="257"/>
        </pc:sldMkLst>
      </pc:sldChg>
      <pc:sldChg chg="modSp add mod">
        <pc:chgData name="Jauhar, Mehar (A&amp;F)" userId="6b184fc0-f80d-46ab-a4ba-4a5755ad07a6" providerId="ADAL" clId="{8DA40FDF-764C-824F-8870-1D747CFBD321}" dt="2025-05-20T17:35:28.008" v="95" actId="20577"/>
        <pc:sldMkLst>
          <pc:docMk/>
          <pc:sldMk cId="2266968594" sldId="257"/>
        </pc:sldMkLst>
        <pc:spChg chg="mod">
          <ac:chgData name="Jauhar, Mehar (A&amp;F)" userId="6b184fc0-f80d-46ab-a4ba-4a5755ad07a6" providerId="ADAL" clId="{8DA40FDF-764C-824F-8870-1D747CFBD321}" dt="2025-05-20T17:35:28.008" v="95" actId="20577"/>
          <ac:spMkLst>
            <pc:docMk/>
            <pc:sldMk cId="2266968594" sldId="257"/>
            <ac:spMk id="16" creationId="{C1E870C5-37B9-F0CB-E8F5-BCA57428FB08}"/>
          </ac:spMkLst>
        </pc:spChg>
      </pc:sldChg>
      <pc:sldChg chg="add del">
        <pc:chgData name="Jauhar, Mehar (A&amp;F)" userId="6b184fc0-f80d-46ab-a4ba-4a5755ad07a6" providerId="ADAL" clId="{8DA40FDF-764C-824F-8870-1D747CFBD321}" dt="2025-05-20T17:34:34.736" v="70"/>
        <pc:sldMkLst>
          <pc:docMk/>
          <pc:sldMk cId="1603070670" sldId="258"/>
        </pc:sldMkLst>
      </pc:sldChg>
      <pc:sldChg chg="del">
        <pc:chgData name="Jauhar, Mehar (A&amp;F)" userId="6b184fc0-f80d-46ab-a4ba-4a5755ad07a6" providerId="ADAL" clId="{8DA40FDF-764C-824F-8870-1D747CFBD321}" dt="2025-05-20T17:34:46.227" v="72" actId="2696"/>
        <pc:sldMkLst>
          <pc:docMk/>
          <pc:sldMk cId="585180634" sldId="261"/>
        </pc:sldMkLst>
      </pc:sldChg>
      <pc:sldChg chg="add del">
        <pc:chgData name="Jauhar, Mehar (A&amp;F)" userId="6b184fc0-f80d-46ab-a4ba-4a5755ad07a6" providerId="ADAL" clId="{8DA40FDF-764C-824F-8870-1D747CFBD321}" dt="2025-05-20T17:34:34.736" v="70"/>
        <pc:sldMkLst>
          <pc:docMk/>
          <pc:sldMk cId="4026100562" sldId="264"/>
        </pc:sldMkLst>
      </pc:sldChg>
      <pc:sldChg chg="add del">
        <pc:chgData name="Jauhar, Mehar (A&amp;F)" userId="6b184fc0-f80d-46ab-a4ba-4a5755ad07a6" providerId="ADAL" clId="{8DA40FDF-764C-824F-8870-1D747CFBD321}" dt="2025-05-20T17:35:21.586" v="92"/>
        <pc:sldMkLst>
          <pc:docMk/>
          <pc:sldMk cId="1554202229" sldId="267"/>
        </pc:sldMkLst>
      </pc:sldChg>
      <pc:sldChg chg="del">
        <pc:chgData name="Jauhar, Mehar (A&amp;F)" userId="6b184fc0-f80d-46ab-a4ba-4a5755ad07a6" providerId="ADAL" clId="{8DA40FDF-764C-824F-8870-1D747CFBD321}" dt="2025-05-20T17:34:54.766" v="83" actId="2696"/>
        <pc:sldMkLst>
          <pc:docMk/>
          <pc:sldMk cId="1715288806" sldId="270"/>
        </pc:sldMkLst>
      </pc:sldChg>
      <pc:sldChg chg="add del">
        <pc:chgData name="Jauhar, Mehar (A&amp;F)" userId="6b184fc0-f80d-46ab-a4ba-4a5755ad07a6" providerId="ADAL" clId="{8DA40FDF-764C-824F-8870-1D747CFBD321}" dt="2025-05-20T17:35:21.586" v="92"/>
        <pc:sldMkLst>
          <pc:docMk/>
          <pc:sldMk cId="1365690984" sldId="271"/>
        </pc:sldMkLst>
      </pc:sldChg>
      <pc:sldChg chg="add del">
        <pc:chgData name="Jauhar, Mehar (A&amp;F)" userId="6b184fc0-f80d-46ab-a4ba-4a5755ad07a6" providerId="ADAL" clId="{8DA40FDF-764C-824F-8870-1D747CFBD321}" dt="2025-05-20T17:34:34.736" v="70"/>
        <pc:sldMkLst>
          <pc:docMk/>
          <pc:sldMk cId="2905261175" sldId="273"/>
        </pc:sldMkLst>
      </pc:sldChg>
      <pc:sldChg chg="del">
        <pc:chgData name="Jauhar, Mehar (A&amp;F)" userId="6b184fc0-f80d-46ab-a4ba-4a5755ad07a6" providerId="ADAL" clId="{8DA40FDF-764C-824F-8870-1D747CFBD321}" dt="2025-05-20T17:34:47.979" v="74" actId="2696"/>
        <pc:sldMkLst>
          <pc:docMk/>
          <pc:sldMk cId="1280680524" sldId="274"/>
        </pc:sldMkLst>
      </pc:sldChg>
      <pc:sldChg chg="del">
        <pc:chgData name="Jauhar, Mehar (A&amp;F)" userId="6b184fc0-f80d-46ab-a4ba-4a5755ad07a6" providerId="ADAL" clId="{8DA40FDF-764C-824F-8870-1D747CFBD321}" dt="2025-05-20T17:34:51.765" v="79" actId="2696"/>
        <pc:sldMkLst>
          <pc:docMk/>
          <pc:sldMk cId="135847137" sldId="275"/>
        </pc:sldMkLst>
      </pc:sldChg>
      <pc:sldChg chg="addSp delSp modSp mod">
        <pc:chgData name="Jauhar, Mehar (A&amp;F)" userId="6b184fc0-f80d-46ab-a4ba-4a5755ad07a6" providerId="ADAL" clId="{8DA40FDF-764C-824F-8870-1D747CFBD321}" dt="2025-05-20T17:26:31.401" v="32" actId="20577"/>
        <pc:sldMkLst>
          <pc:docMk/>
          <pc:sldMk cId="2568010536" sldId="276"/>
        </pc:sldMkLst>
        <pc:graphicFrameChg chg="add mod">
          <ac:chgData name="Jauhar, Mehar (A&amp;F)" userId="6b184fc0-f80d-46ab-a4ba-4a5755ad07a6" providerId="ADAL" clId="{8DA40FDF-764C-824F-8870-1D747CFBD321}" dt="2025-05-20T17:26:31.401" v="32" actId="20577"/>
          <ac:graphicFrameMkLst>
            <pc:docMk/>
            <pc:sldMk cId="2568010536" sldId="276"/>
            <ac:graphicFrameMk id="4" creationId="{BCAF1A5D-AAF4-A5C2-F609-471FBC3134D9}"/>
          </ac:graphicFrameMkLst>
        </pc:graphicFrameChg>
      </pc:sldChg>
      <pc:sldChg chg="add del">
        <pc:chgData name="Jauhar, Mehar (A&amp;F)" userId="6b184fc0-f80d-46ab-a4ba-4a5755ad07a6" providerId="ADAL" clId="{8DA40FDF-764C-824F-8870-1D747CFBD321}" dt="2025-05-20T17:35:21.586" v="92"/>
        <pc:sldMkLst>
          <pc:docMk/>
          <pc:sldMk cId="1084730930" sldId="279"/>
        </pc:sldMkLst>
      </pc:sldChg>
      <pc:sldChg chg="add del">
        <pc:chgData name="Jauhar, Mehar (A&amp;F)" userId="6b184fc0-f80d-46ab-a4ba-4a5755ad07a6" providerId="ADAL" clId="{8DA40FDF-764C-824F-8870-1D747CFBD321}" dt="2025-05-20T17:34:34.736" v="70"/>
        <pc:sldMkLst>
          <pc:docMk/>
          <pc:sldMk cId="81840332" sldId="280"/>
        </pc:sldMkLst>
      </pc:sldChg>
      <pc:sldChg chg="add del">
        <pc:chgData name="Jauhar, Mehar (A&amp;F)" userId="6b184fc0-f80d-46ab-a4ba-4a5755ad07a6" providerId="ADAL" clId="{8DA40FDF-764C-824F-8870-1D747CFBD321}" dt="2025-05-20T17:34:34.736" v="70"/>
        <pc:sldMkLst>
          <pc:docMk/>
          <pc:sldMk cId="3941707896" sldId="289"/>
        </pc:sldMkLst>
      </pc:sldChg>
      <pc:sldChg chg="del">
        <pc:chgData name="Jauhar, Mehar (A&amp;F)" userId="6b184fc0-f80d-46ab-a4ba-4a5755ad07a6" providerId="ADAL" clId="{8DA40FDF-764C-824F-8870-1D747CFBD321}" dt="2025-05-20T17:34:49.759" v="76" actId="2696"/>
        <pc:sldMkLst>
          <pc:docMk/>
          <pc:sldMk cId="51668868" sldId="290"/>
        </pc:sldMkLst>
      </pc:sldChg>
      <pc:sldChg chg="del">
        <pc:chgData name="Jauhar, Mehar (A&amp;F)" userId="6b184fc0-f80d-46ab-a4ba-4a5755ad07a6" providerId="ADAL" clId="{8DA40FDF-764C-824F-8870-1D747CFBD321}" dt="2025-05-20T17:34:53.052" v="81" actId="2696"/>
        <pc:sldMkLst>
          <pc:docMk/>
          <pc:sldMk cId="1212700954" sldId="296"/>
        </pc:sldMkLst>
      </pc:sldChg>
      <pc:sldChg chg="del">
        <pc:chgData name="Jauhar, Mehar (A&amp;F)" userId="6b184fc0-f80d-46ab-a4ba-4a5755ad07a6" providerId="ADAL" clId="{8DA40FDF-764C-824F-8870-1D747CFBD321}" dt="2025-05-20T17:34:52.390" v="80" actId="2696"/>
        <pc:sldMkLst>
          <pc:docMk/>
          <pc:sldMk cId="2358205091" sldId="299"/>
        </pc:sldMkLst>
      </pc:sldChg>
      <pc:sldChg chg="del">
        <pc:chgData name="Jauhar, Mehar (A&amp;F)" userId="6b184fc0-f80d-46ab-a4ba-4a5755ad07a6" providerId="ADAL" clId="{8DA40FDF-764C-824F-8870-1D747CFBD321}" dt="2025-05-20T17:34:49.100" v="75" actId="2696"/>
        <pc:sldMkLst>
          <pc:docMk/>
          <pc:sldMk cId="3597693600" sldId="300"/>
        </pc:sldMkLst>
      </pc:sldChg>
      <pc:sldChg chg="del">
        <pc:chgData name="Jauhar, Mehar (A&amp;F)" userId="6b184fc0-f80d-46ab-a4ba-4a5755ad07a6" providerId="ADAL" clId="{8DA40FDF-764C-824F-8870-1D747CFBD321}" dt="2025-05-20T17:34:50.384" v="77" actId="2696"/>
        <pc:sldMkLst>
          <pc:docMk/>
          <pc:sldMk cId="2512860034" sldId="302"/>
        </pc:sldMkLst>
      </pc:sldChg>
      <pc:sldChg chg="del">
        <pc:chgData name="Jauhar, Mehar (A&amp;F)" userId="6b184fc0-f80d-46ab-a4ba-4a5755ad07a6" providerId="ADAL" clId="{8DA40FDF-764C-824F-8870-1D747CFBD321}" dt="2025-05-20T17:34:46.964" v="73" actId="2696"/>
        <pc:sldMkLst>
          <pc:docMk/>
          <pc:sldMk cId="2076977232" sldId="303"/>
        </pc:sldMkLst>
      </pc:sldChg>
      <pc:sldChg chg="del">
        <pc:chgData name="Jauhar, Mehar (A&amp;F)" userId="6b184fc0-f80d-46ab-a4ba-4a5755ad07a6" providerId="ADAL" clId="{8DA40FDF-764C-824F-8870-1D747CFBD321}" dt="2025-05-20T17:34:53.682" v="82" actId="2696"/>
        <pc:sldMkLst>
          <pc:docMk/>
          <pc:sldMk cId="3656620768" sldId="304"/>
        </pc:sldMkLst>
      </pc:sldChg>
      <pc:sldChg chg="del">
        <pc:chgData name="Jauhar, Mehar (A&amp;F)" userId="6b184fc0-f80d-46ab-a4ba-4a5755ad07a6" providerId="ADAL" clId="{8DA40FDF-764C-824F-8870-1D747CFBD321}" dt="2025-05-20T17:27:14.187" v="34" actId="2696"/>
        <pc:sldMkLst>
          <pc:docMk/>
          <pc:sldMk cId="1561720608" sldId="2147481257"/>
        </pc:sldMkLst>
      </pc:sldChg>
      <pc:sldChg chg="add del">
        <pc:chgData name="Jauhar, Mehar (A&amp;F)" userId="6b184fc0-f80d-46ab-a4ba-4a5755ad07a6" providerId="ADAL" clId="{8DA40FDF-764C-824F-8870-1D747CFBD321}" dt="2025-05-20T17:32:22.030" v="47"/>
        <pc:sldMkLst>
          <pc:docMk/>
          <pc:sldMk cId="349565886" sldId="2147481526"/>
        </pc:sldMkLst>
      </pc:sldChg>
      <pc:sldChg chg="del">
        <pc:chgData name="Jauhar, Mehar (A&amp;F)" userId="6b184fc0-f80d-46ab-a4ba-4a5755ad07a6" providerId="ADAL" clId="{8DA40FDF-764C-824F-8870-1D747CFBD321}" dt="2025-05-20T17:32:17.430" v="44" actId="2696"/>
        <pc:sldMkLst>
          <pc:docMk/>
          <pc:sldMk cId="1721034712" sldId="2147481527"/>
        </pc:sldMkLst>
      </pc:sldChg>
      <pc:sldChg chg="del">
        <pc:chgData name="Jauhar, Mehar (A&amp;F)" userId="6b184fc0-f80d-46ab-a4ba-4a5755ad07a6" providerId="ADAL" clId="{8DA40FDF-764C-824F-8870-1D747CFBD321}" dt="2025-05-20T17:27:15.504" v="35" actId="2696"/>
        <pc:sldMkLst>
          <pc:docMk/>
          <pc:sldMk cId="2126720455" sldId="2147481550"/>
        </pc:sldMkLst>
      </pc:sldChg>
      <pc:sldChg chg="del">
        <pc:chgData name="Jauhar, Mehar (A&amp;F)" userId="6b184fc0-f80d-46ab-a4ba-4a5755ad07a6" providerId="ADAL" clId="{8DA40FDF-764C-824F-8870-1D747CFBD321}" dt="2025-05-20T17:30:29.821" v="39" actId="2696"/>
        <pc:sldMkLst>
          <pc:docMk/>
          <pc:sldMk cId="2936321618" sldId="2147483469"/>
        </pc:sldMkLst>
      </pc:sldChg>
      <pc:sldChg chg="del">
        <pc:chgData name="Jauhar, Mehar (A&amp;F)" userId="6b184fc0-f80d-46ab-a4ba-4a5755ad07a6" providerId="ADAL" clId="{8DA40FDF-764C-824F-8870-1D747CFBD321}" dt="2025-05-20T17:31:59.472" v="42" actId="2696"/>
        <pc:sldMkLst>
          <pc:docMk/>
          <pc:sldMk cId="1751393933" sldId="2147483470"/>
        </pc:sldMkLst>
      </pc:sldChg>
      <pc:sldChg chg="del">
        <pc:chgData name="Jauhar, Mehar (A&amp;F)" userId="6b184fc0-f80d-46ab-a4ba-4a5755ad07a6" providerId="ADAL" clId="{8DA40FDF-764C-824F-8870-1D747CFBD321}" dt="2025-05-20T17:32:16.726" v="43" actId="2696"/>
        <pc:sldMkLst>
          <pc:docMk/>
          <pc:sldMk cId="866654257" sldId="2147483472"/>
        </pc:sldMkLst>
      </pc:sldChg>
      <pc:sldChg chg="addSp delSp modSp mod">
        <pc:chgData name="Jauhar, Mehar (A&amp;F)" userId="6b184fc0-f80d-46ab-a4ba-4a5755ad07a6" providerId="ADAL" clId="{8DA40FDF-764C-824F-8870-1D747CFBD321}" dt="2025-05-20T17:36:47.655" v="126" actId="207"/>
        <pc:sldMkLst>
          <pc:docMk/>
          <pc:sldMk cId="1741467460" sldId="2147483486"/>
        </pc:sldMkLst>
        <pc:spChg chg="add mod">
          <ac:chgData name="Jauhar, Mehar (A&amp;F)" userId="6b184fc0-f80d-46ab-a4ba-4a5755ad07a6" providerId="ADAL" clId="{8DA40FDF-764C-824F-8870-1D747CFBD321}" dt="2025-05-20T17:36:15.746" v="111" actId="20577"/>
          <ac:spMkLst>
            <pc:docMk/>
            <pc:sldMk cId="1741467460" sldId="2147483486"/>
            <ac:spMk id="5" creationId="{E331791A-D001-52DC-1AEE-E0BCCC4DFECA}"/>
          </ac:spMkLst>
        </pc:spChg>
        <pc:spChg chg="mod">
          <ac:chgData name="Jauhar, Mehar (A&amp;F)" userId="6b184fc0-f80d-46ab-a4ba-4a5755ad07a6" providerId="ADAL" clId="{8DA40FDF-764C-824F-8870-1D747CFBD321}" dt="2025-05-20T17:36:19.443" v="120" actId="20577"/>
          <ac:spMkLst>
            <pc:docMk/>
            <pc:sldMk cId="1741467460" sldId="2147483486"/>
            <ac:spMk id="27" creationId="{898DE8B0-12D1-D134-F268-16B7F60CA029}"/>
          </ac:spMkLst>
        </pc:spChg>
        <pc:picChg chg="add mod">
          <ac:chgData name="Jauhar, Mehar (A&amp;F)" userId="6b184fc0-f80d-46ab-a4ba-4a5755ad07a6" providerId="ADAL" clId="{8DA40FDF-764C-824F-8870-1D747CFBD321}" dt="2025-05-20T17:36:02.288" v="103" actId="1076"/>
          <ac:picMkLst>
            <pc:docMk/>
            <pc:sldMk cId="1741467460" sldId="2147483486"/>
            <ac:picMk id="4" creationId="{A4DDE023-0104-BA9C-9A45-E6BA96480EA5}"/>
          </ac:picMkLst>
        </pc:picChg>
        <pc:picChg chg="mod">
          <ac:chgData name="Jauhar, Mehar (A&amp;F)" userId="6b184fc0-f80d-46ab-a4ba-4a5755ad07a6" providerId="ADAL" clId="{8DA40FDF-764C-824F-8870-1D747CFBD321}" dt="2025-05-20T17:36:40.975" v="124" actId="1076"/>
          <ac:picMkLst>
            <pc:docMk/>
            <pc:sldMk cId="1741467460" sldId="2147483486"/>
            <ac:picMk id="8" creationId="{CCCCF25A-2A8A-9F0F-E7CE-C6B19E671366}"/>
          </ac:picMkLst>
        </pc:picChg>
        <pc:picChg chg="add mod">
          <ac:chgData name="Jauhar, Mehar (A&amp;F)" userId="6b184fc0-f80d-46ab-a4ba-4a5755ad07a6" providerId="ADAL" clId="{8DA40FDF-764C-824F-8870-1D747CFBD321}" dt="2025-05-20T17:36:47.655" v="126" actId="207"/>
          <ac:picMkLst>
            <pc:docMk/>
            <pc:sldMk cId="1741467460" sldId="2147483486"/>
            <ac:picMk id="10" creationId="{D2C900EA-EC91-6530-683B-537C743085F1}"/>
          </ac:picMkLst>
        </pc:picChg>
      </pc:sldChg>
      <pc:sldChg chg="del">
        <pc:chgData name="Jauhar, Mehar (A&amp;F)" userId="6b184fc0-f80d-46ab-a4ba-4a5755ad07a6" providerId="ADAL" clId="{8DA40FDF-764C-824F-8870-1D747CFBD321}" dt="2025-05-20T17:32:18.001" v="45" actId="2696"/>
        <pc:sldMkLst>
          <pc:docMk/>
          <pc:sldMk cId="3830842327" sldId="2147483487"/>
        </pc:sldMkLst>
      </pc:sldChg>
      <pc:sldChg chg="add del">
        <pc:chgData name="Jauhar, Mehar (A&amp;F)" userId="6b184fc0-f80d-46ab-a4ba-4a5755ad07a6" providerId="ADAL" clId="{8DA40FDF-764C-824F-8870-1D747CFBD321}" dt="2025-05-20T17:35:21.586" v="92"/>
        <pc:sldMkLst>
          <pc:docMk/>
          <pc:sldMk cId="3781811713" sldId="2147483511"/>
        </pc:sldMkLst>
      </pc:sldChg>
      <pc:sldChg chg="del">
        <pc:chgData name="Jauhar, Mehar (A&amp;F)" userId="6b184fc0-f80d-46ab-a4ba-4a5755ad07a6" providerId="ADAL" clId="{8DA40FDF-764C-824F-8870-1D747CFBD321}" dt="2025-05-20T17:34:25.262" v="61" actId="2696"/>
        <pc:sldMkLst>
          <pc:docMk/>
          <pc:sldMk cId="0" sldId="2147483514"/>
        </pc:sldMkLst>
      </pc:sldChg>
      <pc:sldChg chg="del">
        <pc:chgData name="Jauhar, Mehar (A&amp;F)" userId="6b184fc0-f80d-46ab-a4ba-4a5755ad07a6" providerId="ADAL" clId="{8DA40FDF-764C-824F-8870-1D747CFBD321}" dt="2025-05-20T17:34:26.208" v="63" actId="2696"/>
        <pc:sldMkLst>
          <pc:docMk/>
          <pc:sldMk cId="1887881709" sldId="2147483515"/>
        </pc:sldMkLst>
      </pc:sldChg>
      <pc:sldChg chg="addSp delSp modSp add del mod">
        <pc:chgData name="Jauhar, Mehar (A&amp;F)" userId="6b184fc0-f80d-46ab-a4ba-4a5755ad07a6" providerId="ADAL" clId="{8DA40FDF-764C-824F-8870-1D747CFBD321}" dt="2025-05-20T21:11:09.264" v="873" actId="2696"/>
        <pc:sldMkLst>
          <pc:docMk/>
          <pc:sldMk cId="3548385019" sldId="2147483515"/>
        </pc:sldMkLst>
      </pc:sldChg>
      <pc:sldChg chg="del">
        <pc:chgData name="Jauhar, Mehar (A&amp;F)" userId="6b184fc0-f80d-46ab-a4ba-4a5755ad07a6" providerId="ADAL" clId="{8DA40FDF-764C-824F-8870-1D747CFBD321}" dt="2025-05-20T17:34:26.683" v="64" actId="2696"/>
        <pc:sldMkLst>
          <pc:docMk/>
          <pc:sldMk cId="2976025070" sldId="2147483516"/>
        </pc:sldMkLst>
      </pc:sldChg>
      <pc:sldChg chg="add del">
        <pc:chgData name="Jauhar, Mehar (A&amp;F)" userId="6b184fc0-f80d-46ab-a4ba-4a5755ad07a6" providerId="ADAL" clId="{8DA40FDF-764C-824F-8870-1D747CFBD321}" dt="2025-05-20T17:35:21.586" v="92"/>
        <pc:sldMkLst>
          <pc:docMk/>
          <pc:sldMk cId="2776105033" sldId="2147483518"/>
        </pc:sldMkLst>
      </pc:sldChg>
      <pc:sldChg chg="del">
        <pc:chgData name="Jauhar, Mehar (A&amp;F)" userId="6b184fc0-f80d-46ab-a4ba-4a5755ad07a6" providerId="ADAL" clId="{8DA40FDF-764C-824F-8870-1D747CFBD321}" dt="2025-05-20T17:34:45.170" v="71" actId="2696"/>
        <pc:sldMkLst>
          <pc:docMk/>
          <pc:sldMk cId="975129723" sldId="2147483519"/>
        </pc:sldMkLst>
      </pc:sldChg>
      <pc:sldChg chg="del">
        <pc:chgData name="Jauhar, Mehar (A&amp;F)" userId="6b184fc0-f80d-46ab-a4ba-4a5755ad07a6" providerId="ADAL" clId="{8DA40FDF-764C-824F-8870-1D747CFBD321}" dt="2025-05-20T17:34:51.083" v="78" actId="2696"/>
        <pc:sldMkLst>
          <pc:docMk/>
          <pc:sldMk cId="2478454308" sldId="2147483520"/>
        </pc:sldMkLst>
      </pc:sldChg>
      <pc:sldChg chg="add">
        <pc:chgData name="Jauhar, Mehar (A&amp;F)" userId="6b184fc0-f80d-46ab-a4ba-4a5755ad07a6" providerId="ADAL" clId="{8DA40FDF-764C-824F-8870-1D747CFBD321}" dt="2025-05-20T17:27:11.356" v="33"/>
        <pc:sldMkLst>
          <pc:docMk/>
          <pc:sldMk cId="1949611792" sldId="2147483522"/>
        </pc:sldMkLst>
      </pc:sldChg>
      <pc:sldChg chg="add">
        <pc:chgData name="Jauhar, Mehar (A&amp;F)" userId="6b184fc0-f80d-46ab-a4ba-4a5755ad07a6" providerId="ADAL" clId="{8DA40FDF-764C-824F-8870-1D747CFBD321}" dt="2025-05-20T17:30:13.202" v="36"/>
        <pc:sldMkLst>
          <pc:docMk/>
          <pc:sldMk cId="642494687" sldId="2147483523"/>
        </pc:sldMkLst>
      </pc:sldChg>
      <pc:sldChg chg="addSp delSp modSp add mod ord">
        <pc:chgData name="Jauhar, Mehar (A&amp;F)" userId="6b184fc0-f80d-46ab-a4ba-4a5755ad07a6" providerId="ADAL" clId="{8DA40FDF-764C-824F-8870-1D747CFBD321}" dt="2025-05-20T18:06:49.371" v="664" actId="13926"/>
        <pc:sldMkLst>
          <pc:docMk/>
          <pc:sldMk cId="2756520490" sldId="2147483524"/>
        </pc:sldMkLst>
        <pc:spChg chg="add del mod">
          <ac:chgData name="Jauhar, Mehar (A&amp;F)" userId="6b184fc0-f80d-46ab-a4ba-4a5755ad07a6" providerId="ADAL" clId="{8DA40FDF-764C-824F-8870-1D747CFBD321}" dt="2025-05-20T18:02:33.860" v="569" actId="1076"/>
          <ac:spMkLst>
            <pc:docMk/>
            <pc:sldMk cId="2756520490" sldId="2147483524"/>
            <ac:spMk id="5" creationId="{6E1EECB5-E59E-617E-1A65-A11915846272}"/>
          </ac:spMkLst>
        </pc:spChg>
        <pc:spChg chg="mod">
          <ac:chgData name="Jauhar, Mehar (A&amp;F)" userId="6b184fc0-f80d-46ab-a4ba-4a5755ad07a6" providerId="ADAL" clId="{8DA40FDF-764C-824F-8870-1D747CFBD321}" dt="2025-05-20T18:06:49.371" v="664" actId="13926"/>
          <ac:spMkLst>
            <pc:docMk/>
            <pc:sldMk cId="2756520490" sldId="2147483524"/>
            <ac:spMk id="9" creationId="{61B7AD68-2546-FA2F-A2F2-6C54E2284F2F}"/>
          </ac:spMkLst>
        </pc:spChg>
        <pc:spChg chg="mod">
          <ac:chgData name="Jauhar, Mehar (A&amp;F)" userId="6b184fc0-f80d-46ab-a4ba-4a5755ad07a6" providerId="ADAL" clId="{8DA40FDF-764C-824F-8870-1D747CFBD321}" dt="2025-05-20T18:01:53.389" v="555" actId="1076"/>
          <ac:spMkLst>
            <pc:docMk/>
            <pc:sldMk cId="2756520490" sldId="2147483524"/>
            <ac:spMk id="18" creationId="{948B3901-F227-88C5-1D1A-F1E84F6CA2CA}"/>
          </ac:spMkLst>
        </pc:spChg>
        <pc:spChg chg="mod">
          <ac:chgData name="Jauhar, Mehar (A&amp;F)" userId="6b184fc0-f80d-46ab-a4ba-4a5755ad07a6" providerId="ADAL" clId="{8DA40FDF-764C-824F-8870-1D747CFBD321}" dt="2025-05-20T18:02:24.422" v="565" actId="1076"/>
          <ac:spMkLst>
            <pc:docMk/>
            <pc:sldMk cId="2756520490" sldId="2147483524"/>
            <ac:spMk id="20" creationId="{DEC32FC3-55A4-E3AA-754B-93D636BDA57C}"/>
          </ac:spMkLst>
        </pc:spChg>
        <pc:spChg chg="mod">
          <ac:chgData name="Jauhar, Mehar (A&amp;F)" userId="6b184fc0-f80d-46ab-a4ba-4a5755ad07a6" providerId="ADAL" clId="{8DA40FDF-764C-824F-8870-1D747CFBD321}" dt="2025-05-20T18:06:38.587" v="663" actId="1038"/>
          <ac:spMkLst>
            <pc:docMk/>
            <pc:sldMk cId="2756520490" sldId="2147483524"/>
            <ac:spMk id="25" creationId="{94BEF636-093A-0EBC-A779-FD2FA9804C2B}"/>
          </ac:spMkLst>
        </pc:spChg>
        <pc:spChg chg="mod">
          <ac:chgData name="Jauhar, Mehar (A&amp;F)" userId="6b184fc0-f80d-46ab-a4ba-4a5755ad07a6" providerId="ADAL" clId="{8DA40FDF-764C-824F-8870-1D747CFBD321}" dt="2025-05-20T18:02:22" v="563" actId="1076"/>
          <ac:spMkLst>
            <pc:docMk/>
            <pc:sldMk cId="2756520490" sldId="2147483524"/>
            <ac:spMk id="31" creationId="{34D20D0F-6FCF-BDE8-9715-EA5D7DCB6742}"/>
          </ac:spMkLst>
        </pc:spChg>
        <pc:spChg chg="mod">
          <ac:chgData name="Jauhar, Mehar (A&amp;F)" userId="6b184fc0-f80d-46ab-a4ba-4a5755ad07a6" providerId="ADAL" clId="{8DA40FDF-764C-824F-8870-1D747CFBD321}" dt="2025-05-20T18:02:42.232" v="573" actId="1076"/>
          <ac:spMkLst>
            <pc:docMk/>
            <pc:sldMk cId="2756520490" sldId="2147483524"/>
            <ac:spMk id="35" creationId="{45408371-3851-6DEC-FF02-1841D0A4600B}"/>
          </ac:spMkLst>
        </pc:spChg>
        <pc:spChg chg="mod">
          <ac:chgData name="Jauhar, Mehar (A&amp;F)" userId="6b184fc0-f80d-46ab-a4ba-4a5755ad07a6" providerId="ADAL" clId="{8DA40FDF-764C-824F-8870-1D747CFBD321}" dt="2025-05-20T18:01:48.131" v="553" actId="1076"/>
          <ac:spMkLst>
            <pc:docMk/>
            <pc:sldMk cId="2756520490" sldId="2147483524"/>
            <ac:spMk id="36" creationId="{AA7FEAEA-740E-6548-30B4-6E689E767ED4}"/>
          </ac:spMkLst>
        </pc:spChg>
        <pc:spChg chg="add mod">
          <ac:chgData name="Jauhar, Mehar (A&amp;F)" userId="6b184fc0-f80d-46ab-a4ba-4a5755ad07a6" providerId="ADAL" clId="{8DA40FDF-764C-824F-8870-1D747CFBD321}" dt="2025-05-20T18:06:22.851" v="647" actId="1076"/>
          <ac:spMkLst>
            <pc:docMk/>
            <pc:sldMk cId="2756520490" sldId="2147483524"/>
            <ac:spMk id="40" creationId="{6093CB6C-310F-D849-07A2-50D5BD250F05}"/>
          </ac:spMkLst>
        </pc:spChg>
        <pc:spChg chg="add mod">
          <ac:chgData name="Jauhar, Mehar (A&amp;F)" userId="6b184fc0-f80d-46ab-a4ba-4a5755ad07a6" providerId="ADAL" clId="{8DA40FDF-764C-824F-8870-1D747CFBD321}" dt="2025-05-20T18:06:27.807" v="649" actId="1076"/>
          <ac:spMkLst>
            <pc:docMk/>
            <pc:sldMk cId="2756520490" sldId="2147483524"/>
            <ac:spMk id="44" creationId="{D698477B-DC2F-C129-4DAF-A9B2B4CC9E65}"/>
          </ac:spMkLst>
        </pc:spChg>
        <pc:picChg chg="mod">
          <ac:chgData name="Jauhar, Mehar (A&amp;F)" userId="6b184fc0-f80d-46ab-a4ba-4a5755ad07a6" providerId="ADAL" clId="{8DA40FDF-764C-824F-8870-1D747CFBD321}" dt="2025-05-20T18:02:27.248" v="566" actId="1076"/>
          <ac:picMkLst>
            <pc:docMk/>
            <pc:sldMk cId="2756520490" sldId="2147483524"/>
            <ac:picMk id="2" creationId="{8D4498DC-8481-1115-F6D5-D44A324B5003}"/>
          </ac:picMkLst>
        </pc:picChg>
        <pc:picChg chg="mod">
          <ac:chgData name="Jauhar, Mehar (A&amp;F)" userId="6b184fc0-f80d-46ab-a4ba-4a5755ad07a6" providerId="ADAL" clId="{8DA40FDF-764C-824F-8870-1D747CFBD321}" dt="2025-05-20T17:31:17.905" v="40" actId="14826"/>
          <ac:picMkLst>
            <pc:docMk/>
            <pc:sldMk cId="2756520490" sldId="2147483524"/>
            <ac:picMk id="4" creationId="{B4E2242C-82E8-D3DC-02DB-C1379B48FAB6}"/>
          </ac:picMkLst>
        </pc:picChg>
        <pc:picChg chg="mod">
          <ac:chgData name="Jauhar, Mehar (A&amp;F)" userId="6b184fc0-f80d-46ab-a4ba-4a5755ad07a6" providerId="ADAL" clId="{8DA40FDF-764C-824F-8870-1D747CFBD321}" dt="2025-05-20T18:02:36.376" v="570" actId="1076"/>
          <ac:picMkLst>
            <pc:docMk/>
            <pc:sldMk cId="2756520490" sldId="2147483524"/>
            <ac:picMk id="8" creationId="{BD94A702-9E9D-E40F-2EF3-D4A2D183733C}"/>
          </ac:picMkLst>
        </pc:picChg>
        <pc:picChg chg="add mod">
          <ac:chgData name="Jauhar, Mehar (A&amp;F)" userId="6b184fc0-f80d-46ab-a4ba-4a5755ad07a6" providerId="ADAL" clId="{8DA40FDF-764C-824F-8870-1D747CFBD321}" dt="2025-05-20T18:02:59.273" v="578" actId="1076"/>
          <ac:picMkLst>
            <pc:docMk/>
            <pc:sldMk cId="2756520490" sldId="2147483524"/>
            <ac:picMk id="10" creationId="{B7128334-7D17-D176-A275-93A9805BD93F}"/>
          </ac:picMkLst>
        </pc:picChg>
        <pc:picChg chg="mod">
          <ac:chgData name="Jauhar, Mehar (A&amp;F)" userId="6b184fc0-f80d-46ab-a4ba-4a5755ad07a6" providerId="ADAL" clId="{8DA40FDF-764C-824F-8870-1D747CFBD321}" dt="2025-05-20T18:01:39.884" v="550" actId="1076"/>
          <ac:picMkLst>
            <pc:docMk/>
            <pc:sldMk cId="2756520490" sldId="2147483524"/>
            <ac:picMk id="15" creationId="{D6F6D2DC-A141-97FA-86B7-BC9C355ACC1E}"/>
          </ac:picMkLst>
        </pc:picChg>
        <pc:picChg chg="mod">
          <ac:chgData name="Jauhar, Mehar (A&amp;F)" userId="6b184fc0-f80d-46ab-a4ba-4a5755ad07a6" providerId="ADAL" clId="{8DA40FDF-764C-824F-8870-1D747CFBD321}" dt="2025-05-20T18:01:50.635" v="554" actId="1076"/>
          <ac:picMkLst>
            <pc:docMk/>
            <pc:sldMk cId="2756520490" sldId="2147483524"/>
            <ac:picMk id="32" creationId="{461E03C6-3418-4142-F0BE-8319D9A8FC81}"/>
          </ac:picMkLst>
        </pc:picChg>
        <pc:picChg chg="mod">
          <ac:chgData name="Jauhar, Mehar (A&amp;F)" userId="6b184fc0-f80d-46ab-a4ba-4a5755ad07a6" providerId="ADAL" clId="{8DA40FDF-764C-824F-8870-1D747CFBD321}" dt="2025-05-20T17:59:00.959" v="512" actId="1076"/>
          <ac:picMkLst>
            <pc:docMk/>
            <pc:sldMk cId="2756520490" sldId="2147483524"/>
            <ac:picMk id="33" creationId="{7A8BCF02-3215-3FF9-1768-74F3EAB5D1BD}"/>
          </ac:picMkLst>
        </pc:picChg>
        <pc:picChg chg="add mod">
          <ac:chgData name="Jauhar, Mehar (A&amp;F)" userId="6b184fc0-f80d-46ab-a4ba-4a5755ad07a6" providerId="ADAL" clId="{8DA40FDF-764C-824F-8870-1D747CFBD321}" dt="2025-05-20T18:06:25.500" v="648" actId="1076"/>
          <ac:picMkLst>
            <pc:docMk/>
            <pc:sldMk cId="2756520490" sldId="2147483524"/>
            <ac:picMk id="41" creationId="{80595976-BCAC-39EE-614B-F9C916A29300}"/>
          </ac:picMkLst>
        </pc:picChg>
        <pc:picChg chg="add mod">
          <ac:chgData name="Jauhar, Mehar (A&amp;F)" userId="6b184fc0-f80d-46ab-a4ba-4a5755ad07a6" providerId="ADAL" clId="{8DA40FDF-764C-824F-8870-1D747CFBD321}" dt="2025-05-20T18:06:30.106" v="650" actId="1076"/>
          <ac:picMkLst>
            <pc:docMk/>
            <pc:sldMk cId="2756520490" sldId="2147483524"/>
            <ac:picMk id="43" creationId="{2E3579F2-69E8-47CB-271C-8DEEC179D90D}"/>
          </ac:picMkLst>
        </pc:picChg>
        <pc:cxnChg chg="mod">
          <ac:chgData name="Jauhar, Mehar (A&amp;F)" userId="6b184fc0-f80d-46ab-a4ba-4a5755ad07a6" providerId="ADAL" clId="{8DA40FDF-764C-824F-8870-1D747CFBD321}" dt="2025-05-20T18:06:12.703" v="644" actId="14100"/>
          <ac:cxnSpMkLst>
            <pc:docMk/>
            <pc:sldMk cId="2756520490" sldId="2147483524"/>
            <ac:cxnSpMk id="14" creationId="{402FC071-DD5E-A482-1B24-8AA3FAC84B1C}"/>
          </ac:cxnSpMkLst>
        </pc:cxnChg>
        <pc:cxnChg chg="mod">
          <ac:chgData name="Jauhar, Mehar (A&amp;F)" userId="6b184fc0-f80d-46ab-a4ba-4a5755ad07a6" providerId="ADAL" clId="{8DA40FDF-764C-824F-8870-1D747CFBD321}" dt="2025-05-20T17:58:42.305" v="506" actId="14100"/>
          <ac:cxnSpMkLst>
            <pc:docMk/>
            <pc:sldMk cId="2756520490" sldId="2147483524"/>
            <ac:cxnSpMk id="16" creationId="{598D7587-8673-9E9A-8327-9A0EA590F182}"/>
          </ac:cxnSpMkLst>
        </pc:cxnChg>
        <pc:cxnChg chg="mod">
          <ac:chgData name="Jauhar, Mehar (A&amp;F)" userId="6b184fc0-f80d-46ab-a4ba-4a5755ad07a6" providerId="ADAL" clId="{8DA40FDF-764C-824F-8870-1D747CFBD321}" dt="2025-05-20T17:58:58.401" v="511" actId="14100"/>
          <ac:cxnSpMkLst>
            <pc:docMk/>
            <pc:sldMk cId="2756520490" sldId="2147483524"/>
            <ac:cxnSpMk id="17" creationId="{6C61E914-8ED6-75FB-7E05-D33B707D9243}"/>
          </ac:cxnSpMkLst>
        </pc:cxnChg>
        <pc:cxnChg chg="mod">
          <ac:chgData name="Jauhar, Mehar (A&amp;F)" userId="6b184fc0-f80d-46ab-a4ba-4a5755ad07a6" providerId="ADAL" clId="{8DA40FDF-764C-824F-8870-1D747CFBD321}" dt="2025-05-20T18:06:08.213" v="643" actId="14100"/>
          <ac:cxnSpMkLst>
            <pc:docMk/>
            <pc:sldMk cId="2756520490" sldId="2147483524"/>
            <ac:cxnSpMk id="22" creationId="{16809AB9-1DB2-B4BD-C8E3-541BE5DE6DAB}"/>
          </ac:cxnSpMkLst>
        </pc:cxnChg>
        <pc:cxnChg chg="mod">
          <ac:chgData name="Jauhar, Mehar (A&amp;F)" userId="6b184fc0-f80d-46ab-a4ba-4a5755ad07a6" providerId="ADAL" clId="{8DA40FDF-764C-824F-8870-1D747CFBD321}" dt="2025-05-20T18:04:27.240" v="611" actId="14100"/>
          <ac:cxnSpMkLst>
            <pc:docMk/>
            <pc:sldMk cId="2756520490" sldId="2147483524"/>
            <ac:cxnSpMk id="28" creationId="{8DF9F752-057A-E7CF-1039-AE6C1C6BADAB}"/>
          </ac:cxnSpMkLst>
        </pc:cxnChg>
      </pc:sldChg>
      <pc:sldChg chg="add">
        <pc:chgData name="Jauhar, Mehar (A&amp;F)" userId="6b184fc0-f80d-46ab-a4ba-4a5755ad07a6" providerId="ADAL" clId="{8DA40FDF-764C-824F-8870-1D747CFBD321}" dt="2025-05-20T17:34:34.736" v="70"/>
        <pc:sldMkLst>
          <pc:docMk/>
          <pc:sldMk cId="2976025070" sldId="2147483525"/>
        </pc:sldMkLst>
      </pc:sldChg>
      <pc:sldChg chg="modSp add mod">
        <pc:chgData name="Jauhar, Mehar (A&amp;F)" userId="6b184fc0-f80d-46ab-a4ba-4a5755ad07a6" providerId="ADAL" clId="{8DA40FDF-764C-824F-8870-1D747CFBD321}" dt="2025-05-20T21:03:53.343" v="756"/>
        <pc:sldMkLst>
          <pc:docMk/>
          <pc:sldMk cId="927177935" sldId="2147483527"/>
        </pc:sldMkLst>
        <pc:graphicFrameChg chg="mod modGraphic">
          <ac:chgData name="Jauhar, Mehar (A&amp;F)" userId="6b184fc0-f80d-46ab-a4ba-4a5755ad07a6" providerId="ADAL" clId="{8DA40FDF-764C-824F-8870-1D747CFBD321}" dt="2025-05-20T21:03:53.343" v="756"/>
          <ac:graphicFrameMkLst>
            <pc:docMk/>
            <pc:sldMk cId="927177935" sldId="2147483527"/>
            <ac:graphicFrameMk id="6" creationId="{4C906486-E95B-F55A-6695-30C3148FF2F2}"/>
          </ac:graphicFrameMkLst>
        </pc:graphicFrameChg>
      </pc:sldChg>
      <pc:sldChg chg="modSp add mod">
        <pc:chgData name="Jauhar, Mehar (A&amp;F)" userId="6b184fc0-f80d-46ab-a4ba-4a5755ad07a6" providerId="ADAL" clId="{8DA40FDF-764C-824F-8870-1D747CFBD321}" dt="2025-05-20T21:12:08.730" v="893" actId="14734"/>
        <pc:sldMkLst>
          <pc:docMk/>
          <pc:sldMk cId="2459882351" sldId="2147483534"/>
        </pc:sldMkLst>
        <pc:graphicFrameChg chg="mod modGraphic">
          <ac:chgData name="Jauhar, Mehar (A&amp;F)" userId="6b184fc0-f80d-46ab-a4ba-4a5755ad07a6" providerId="ADAL" clId="{8DA40FDF-764C-824F-8870-1D747CFBD321}" dt="2025-05-20T21:12:08.730" v="893" actId="14734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  <pc:sldChg chg="add">
        <pc:chgData name="Jauhar, Mehar (A&amp;F)" userId="6b184fc0-f80d-46ab-a4ba-4a5755ad07a6" providerId="ADAL" clId="{8DA40FDF-764C-824F-8870-1D747CFBD321}" dt="2025-05-20T17:34:34.736" v="70"/>
        <pc:sldMkLst>
          <pc:docMk/>
          <pc:sldMk cId="0" sldId="2147483535"/>
        </pc:sldMkLst>
      </pc:sldChg>
      <pc:sldChg chg="add">
        <pc:chgData name="Jauhar, Mehar (A&amp;F)" userId="6b184fc0-f80d-46ab-a4ba-4a5755ad07a6" providerId="ADAL" clId="{8DA40FDF-764C-824F-8870-1D747CFBD321}" dt="2025-05-20T17:34:34.736" v="70"/>
        <pc:sldMkLst>
          <pc:docMk/>
          <pc:sldMk cId="1887881709" sldId="2147483536"/>
        </pc:sldMkLst>
      </pc:sldChg>
      <pc:sldChg chg="del">
        <pc:chgData name="Jauhar, Mehar (A&amp;F)" userId="6b184fc0-f80d-46ab-a4ba-4a5755ad07a6" providerId="ADAL" clId="{8DA40FDF-764C-824F-8870-1D747CFBD321}" dt="2025-05-20T20:57:31.402" v="666" actId="2696"/>
        <pc:sldMkLst>
          <pc:docMk/>
          <pc:sldMk cId="45065135" sldId="2147483537"/>
        </pc:sldMkLst>
      </pc:sldChg>
      <pc:sldChg chg="del">
        <pc:chgData name="Jauhar, Mehar (A&amp;F)" userId="6b184fc0-f80d-46ab-a4ba-4a5755ad07a6" providerId="ADAL" clId="{8DA40FDF-764C-824F-8870-1D747CFBD321}" dt="2025-05-20T20:57:38.135" v="667" actId="2696"/>
        <pc:sldMkLst>
          <pc:docMk/>
          <pc:sldMk cId="333040484" sldId="2147483538"/>
        </pc:sldMkLst>
      </pc:sldChg>
      <pc:sldChg chg="modSp add mod">
        <pc:chgData name="Jauhar, Mehar (A&amp;F)" userId="6b184fc0-f80d-46ab-a4ba-4a5755ad07a6" providerId="ADAL" clId="{8DA40FDF-764C-824F-8870-1D747CFBD321}" dt="2025-05-20T21:10:43.419" v="870" actId="20577"/>
        <pc:sldMkLst>
          <pc:docMk/>
          <pc:sldMk cId="3849166271" sldId="2147483539"/>
        </pc:sldMkLst>
        <pc:graphicFrameChg chg="mod modGraphic">
          <ac:chgData name="Jauhar, Mehar (A&amp;F)" userId="6b184fc0-f80d-46ab-a4ba-4a5755ad07a6" providerId="ADAL" clId="{8DA40FDF-764C-824F-8870-1D747CFBD321}" dt="2025-05-20T21:10:43.419" v="870" actId="20577"/>
          <ac:graphicFrameMkLst>
            <pc:docMk/>
            <pc:sldMk cId="3849166271" sldId="2147483539"/>
            <ac:graphicFrameMk id="6" creationId="{AB9F56E3-77CE-551C-B9AC-7B5B6EF7BA99}"/>
          </ac:graphicFrameMkLst>
        </pc:graphicFrameChg>
      </pc:sldChg>
      <pc:sldMasterChg chg="del">
        <pc:chgData name="Jauhar, Mehar (A&amp;F)" userId="6b184fc0-f80d-46ab-a4ba-4a5755ad07a6" providerId="ADAL" clId="{8DA40FDF-764C-824F-8870-1D747CFBD321}" dt="2025-05-20T17:35:18.659" v="91" actId="2696"/>
        <pc:sldMasterMkLst>
          <pc:docMk/>
          <pc:sldMasterMk cId="436886680" sldId="2147484005"/>
        </pc:sldMasterMkLst>
      </pc:sldMasterChg>
      <pc:sldMasterChg chg="del">
        <pc:chgData name="Jauhar, Mehar (A&amp;F)" userId="6b184fc0-f80d-46ab-a4ba-4a5755ad07a6" providerId="ADAL" clId="{8DA40FDF-764C-824F-8870-1D747CFBD321}" dt="2025-05-20T17:34:30.551" v="69" actId="2696"/>
        <pc:sldMasterMkLst>
          <pc:docMk/>
          <pc:sldMasterMk cId="1106680355" sldId="2147484025"/>
        </pc:sldMasterMkLst>
      </pc:sldMasterChg>
      <pc:sldMasterChg chg="del">
        <pc:chgData name="Jauhar, Mehar (A&amp;F)" userId="6b184fc0-f80d-46ab-a4ba-4a5755ad07a6" providerId="ADAL" clId="{8DA40FDF-764C-824F-8870-1D747CFBD321}" dt="2025-05-20T17:34:54.768" v="84" actId="2696"/>
        <pc:sldMasterMkLst>
          <pc:docMk/>
          <pc:sldMasterMk cId="3859632013" sldId="2147484036"/>
        </pc:sldMasterMkLst>
      </pc:sldMasterChg>
    </pc:docChg>
  </pc:docChgLst>
  <pc:docChgLst>
    <pc:chgData name="Leonarte Paredes, Micaela (A&amp;F)" userId="S::micaela.leonarteparedes@mass.gov::9dd405bc-2413-4d02-bb30-9534b8884de8" providerId="AD" clId="Web-{B4375B20-60DC-A80C-646D-57DF05776825}"/>
    <pc:docChg chg="addSld modSld">
      <pc:chgData name="Leonarte Paredes, Micaela (A&amp;F)" userId="S::micaela.leonarteparedes@mass.gov::9dd405bc-2413-4d02-bb30-9534b8884de8" providerId="AD" clId="Web-{B4375B20-60DC-A80C-646D-57DF05776825}" dt="2025-03-04T17:57:04.556" v="125"/>
      <pc:docMkLst>
        <pc:docMk/>
      </pc:docMkLst>
      <pc:sldChg chg="modSp">
        <pc:chgData name="Leonarte Paredes, Micaela (A&amp;F)" userId="S::micaela.leonarteparedes@mass.gov::9dd405bc-2413-4d02-bb30-9534b8884de8" providerId="AD" clId="Web-{B4375B20-60DC-A80C-646D-57DF05776825}" dt="2025-03-04T16:46:43.559" v="0"/>
        <pc:sldMkLst>
          <pc:docMk/>
          <pc:sldMk cId="1721034712" sldId="2147481527"/>
        </pc:sldMkLst>
      </pc:sldChg>
      <pc:sldChg chg="modSp">
        <pc:chgData name="Leonarte Paredes, Micaela (A&amp;F)" userId="S::micaela.leonarteparedes@mass.gov::9dd405bc-2413-4d02-bb30-9534b8884de8" providerId="AD" clId="Web-{B4375B20-60DC-A80C-646D-57DF05776825}" dt="2025-03-04T16:50:12.511" v="1"/>
        <pc:sldMkLst>
          <pc:docMk/>
          <pc:sldMk cId="866654257" sldId="2147483472"/>
        </pc:sldMkLst>
      </pc:sldChg>
      <pc:sldChg chg="modSp">
        <pc:chgData name="Leonarte Paredes, Micaela (A&amp;F)" userId="S::micaela.leonarteparedes@mass.gov::9dd405bc-2413-4d02-bb30-9534b8884de8" providerId="AD" clId="Web-{B4375B20-60DC-A80C-646D-57DF05776825}" dt="2025-03-04T17:31:28.504" v="55"/>
        <pc:sldMkLst>
          <pc:docMk/>
          <pc:sldMk cId="3379675862" sldId="2147483477"/>
        </pc:sldMkLst>
      </pc:sldChg>
      <pc:sldChg chg="addSp delSp modSp">
        <pc:chgData name="Leonarte Paredes, Micaela (A&amp;F)" userId="S::micaela.leonarteparedes@mass.gov::9dd405bc-2413-4d02-bb30-9534b8884de8" providerId="AD" clId="Web-{B4375B20-60DC-A80C-646D-57DF05776825}" dt="2025-03-04T17:57:04.556" v="125"/>
        <pc:sldMkLst>
          <pc:docMk/>
          <pc:sldMk cId="3830842327" sldId="2147483487"/>
        </pc:sldMkLst>
      </pc:sldChg>
      <pc:sldChg chg="modSp add replId">
        <pc:chgData name="Leonarte Paredes, Micaela (A&amp;F)" userId="S::micaela.leonarteparedes@mass.gov::9dd405bc-2413-4d02-bb30-9534b8884de8" providerId="AD" clId="Web-{B4375B20-60DC-A80C-646D-57DF05776825}" dt="2025-03-04T17:32:18.457" v="117"/>
        <pc:sldMkLst>
          <pc:docMk/>
          <pc:sldMk cId="2318375095" sldId="2147483508"/>
        </pc:sldMkLst>
      </pc:sldChg>
    </pc:docChg>
  </pc:docChgLst>
  <pc:docChgLst>
    <pc:chgData name="Strain, Mallory (A&amp;F)" userId="S::mallory.strain@mass.gov::7f2f9c2c-98ee-44e6-afe8-8ea6a9111392" providerId="AD" clId="Web-{28A8BE7A-4A66-F9B2-F73D-29F35EF103AA}"/>
    <pc:docChg chg="modSld sldOrd">
      <pc:chgData name="Strain, Mallory (A&amp;F)" userId="S::mallory.strain@mass.gov::7f2f9c2c-98ee-44e6-afe8-8ea6a9111392" providerId="AD" clId="Web-{28A8BE7A-4A66-F9B2-F73D-29F35EF103AA}" dt="2025-05-20T21:15:03.077" v="1"/>
      <pc:docMkLst>
        <pc:docMk/>
      </pc:docMkLst>
      <pc:sldChg chg="modSp ord">
        <pc:chgData name="Strain, Mallory (A&amp;F)" userId="S::mallory.strain@mass.gov::7f2f9c2c-98ee-44e6-afe8-8ea6a9111392" providerId="AD" clId="Web-{28A8BE7A-4A66-F9B2-F73D-29F35EF103AA}" dt="2025-05-20T21:15:03.077" v="1"/>
        <pc:sldMkLst>
          <pc:docMk/>
          <pc:sldMk cId="3849166271" sldId="2147483539"/>
        </pc:sldMkLst>
        <pc:graphicFrameChg chg="modGraphic">
          <ac:chgData name="Strain, Mallory (A&amp;F)" userId="S::mallory.strain@mass.gov::7f2f9c2c-98ee-44e6-afe8-8ea6a9111392" providerId="AD" clId="Web-{28A8BE7A-4A66-F9B2-F73D-29F35EF103AA}" dt="2025-05-20T21:14:47.467" v="0"/>
          <ac:graphicFrameMkLst>
            <pc:docMk/>
            <pc:sldMk cId="3849166271" sldId="2147483539"/>
            <ac:graphicFrameMk id="6" creationId="{AB9F56E3-77CE-551C-B9AC-7B5B6EF7BA99}"/>
          </ac:graphicFrameMkLst>
        </pc:graphicFrameChg>
      </pc:sldChg>
    </pc:docChg>
  </pc:docChgLst>
  <pc:docChgLst>
    <pc:chgData name="Jauhar, Mehar (A&amp;F)" userId="6b184fc0-f80d-46ab-a4ba-4a5755ad07a6" providerId="ADAL" clId="{CE9DF3BE-AD49-244D-87B1-9AA101D9BA70}"/>
    <pc:docChg chg="undo custSel addSld delSld modSld delMainMaster">
      <pc:chgData name="Jauhar, Mehar (A&amp;F)" userId="6b184fc0-f80d-46ab-a4ba-4a5755ad07a6" providerId="ADAL" clId="{CE9DF3BE-AD49-244D-87B1-9AA101D9BA70}" dt="2025-03-24T18:53:44.679" v="777"/>
      <pc:docMkLst>
        <pc:docMk/>
      </pc:docMkLst>
      <pc:sldChg chg="modSp mod">
        <pc:chgData name="Jauhar, Mehar (A&amp;F)" userId="6b184fc0-f80d-46ab-a4ba-4a5755ad07a6" providerId="ADAL" clId="{CE9DF3BE-AD49-244D-87B1-9AA101D9BA70}" dt="2025-03-23T23:58:35.074" v="24" actId="20577"/>
        <pc:sldMkLst>
          <pc:docMk/>
          <pc:sldMk cId="1706473524" sldId="256"/>
        </pc:sldMkLst>
        <pc:spChg chg="mod">
          <ac:chgData name="Jauhar, Mehar (A&amp;F)" userId="6b184fc0-f80d-46ab-a4ba-4a5755ad07a6" providerId="ADAL" clId="{CE9DF3BE-AD49-244D-87B1-9AA101D9BA70}" dt="2025-03-23T23:58:35.074" v="24" actId="20577"/>
          <ac:spMkLst>
            <pc:docMk/>
            <pc:sldMk cId="1706473524" sldId="256"/>
            <ac:spMk id="3" creationId="{6BF96C16-BDB2-15EE-4778-FA5D2DB3A873}"/>
          </ac:spMkLst>
        </pc:spChg>
      </pc:sldChg>
      <pc:sldChg chg="modSp mod addCm modCm">
        <pc:chgData name="Jauhar, Mehar (A&amp;F)" userId="6b184fc0-f80d-46ab-a4ba-4a5755ad07a6" providerId="ADAL" clId="{CE9DF3BE-AD49-244D-87B1-9AA101D9BA70}" dt="2025-03-24T18:28:28.695" v="566"/>
        <pc:sldMkLst>
          <pc:docMk/>
          <pc:sldMk cId="1124631863" sldId="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CE9DF3BE-AD49-244D-87B1-9AA101D9BA70}" dt="2025-03-24T18:28:28.695" v="566"/>
              <pc2:cmMkLst xmlns:pc2="http://schemas.microsoft.com/office/powerpoint/2019/9/main/command">
                <pc:docMk/>
                <pc:sldMk cId="1124631863" sldId="257"/>
                <pc2:cmMk id="{EF34107B-E9EB-7B4F-8D7F-7749E34C0471}"/>
              </pc2:cmMkLst>
            </pc226:cmChg>
          </p:ext>
        </pc:ext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1603070670" sldId="258"/>
        </pc:sldMkLst>
      </pc:sldChg>
      <pc:sldChg chg="del">
        <pc:chgData name="Jauhar, Mehar (A&amp;F)" userId="6b184fc0-f80d-46ab-a4ba-4a5755ad07a6" providerId="ADAL" clId="{CE9DF3BE-AD49-244D-87B1-9AA101D9BA70}" dt="2025-03-24T00:14:01.194" v="256" actId="2696"/>
        <pc:sldMkLst>
          <pc:docMk/>
          <pc:sldMk cId="3184265668" sldId="258"/>
        </pc:sldMkLst>
      </pc:sldChg>
      <pc:sldChg chg="del">
        <pc:chgData name="Jauhar, Mehar (A&amp;F)" userId="6b184fc0-f80d-46ab-a4ba-4a5755ad07a6" providerId="ADAL" clId="{CE9DF3BE-AD49-244D-87B1-9AA101D9BA70}" dt="2025-03-24T00:14:01.196" v="257" actId="2696"/>
        <pc:sldMkLst>
          <pc:docMk/>
          <pc:sldMk cId="3428010857" sldId="263"/>
        </pc:sldMkLst>
      </pc:sldChg>
      <pc:sldChg chg="del">
        <pc:chgData name="Jauhar, Mehar (A&amp;F)" userId="6b184fc0-f80d-46ab-a4ba-4a5755ad07a6" providerId="ADAL" clId="{CE9DF3BE-AD49-244D-87B1-9AA101D9BA70}" dt="2025-03-24T00:14:01.239" v="270" actId="2696"/>
        <pc:sldMkLst>
          <pc:docMk/>
          <pc:sldMk cId="3962432548" sldId="264"/>
        </pc:sldMk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4026100562" sldId="264"/>
        </pc:sldMkLst>
      </pc:sldChg>
      <pc:sldChg chg="del">
        <pc:chgData name="Jauhar, Mehar (A&amp;F)" userId="6b184fc0-f80d-46ab-a4ba-4a5755ad07a6" providerId="ADAL" clId="{CE9DF3BE-AD49-244D-87B1-9AA101D9BA70}" dt="2025-03-24T00:14:01.220" v="266" actId="2696"/>
        <pc:sldMkLst>
          <pc:docMk/>
          <pc:sldMk cId="1779510330" sldId="266"/>
        </pc:sldMkLst>
      </pc:sldChg>
      <pc:sldChg chg="del">
        <pc:chgData name="Jauhar, Mehar (A&amp;F)" userId="6b184fc0-f80d-46ab-a4ba-4a5755ad07a6" providerId="ADAL" clId="{CE9DF3BE-AD49-244D-87B1-9AA101D9BA70}" dt="2025-03-24T00:14:01.210" v="262" actId="2696"/>
        <pc:sldMkLst>
          <pc:docMk/>
          <pc:sldMk cId="555550246" sldId="273"/>
        </pc:sldMk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2905261175" sldId="273"/>
        </pc:sldMkLst>
      </pc:sldChg>
      <pc:sldChg chg="modSp mod addCm delCm modCm">
        <pc:chgData name="Jauhar, Mehar (A&amp;F)" userId="6b184fc0-f80d-46ab-a4ba-4a5755ad07a6" providerId="ADAL" clId="{CE9DF3BE-AD49-244D-87B1-9AA101D9BA70}" dt="2025-03-24T18:49:24.366" v="593"/>
        <pc:sldMkLst>
          <pc:docMk/>
          <pc:sldMk cId="2568010536" sldId="27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49:24.366" v="593"/>
              <pc2:cmMkLst xmlns:pc2="http://schemas.microsoft.com/office/powerpoint/2019/9/main/command">
                <pc:docMk/>
                <pc:sldMk cId="2568010536" sldId="276"/>
                <pc2:cmMk id="{0D321946-6FC3-CB44-B273-9D68E8AF4124}"/>
              </pc2:cmMkLst>
            </pc226:cmChg>
          </p:ext>
        </pc:ext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81840332" sldId="280"/>
        </pc:sldMkLst>
      </pc:sldChg>
      <pc:sldChg chg="del">
        <pc:chgData name="Jauhar, Mehar (A&amp;F)" userId="6b184fc0-f80d-46ab-a4ba-4a5755ad07a6" providerId="ADAL" clId="{CE9DF3BE-AD49-244D-87B1-9AA101D9BA70}" dt="2025-03-24T00:14:01.199" v="260" actId="2696"/>
        <pc:sldMkLst>
          <pc:docMk/>
          <pc:sldMk cId="2476568155" sldId="280"/>
        </pc:sldMkLst>
      </pc:sldChg>
      <pc:sldChg chg="del">
        <pc:chgData name="Jauhar, Mehar (A&amp;F)" userId="6b184fc0-f80d-46ab-a4ba-4a5755ad07a6" providerId="ADAL" clId="{CE9DF3BE-AD49-244D-87B1-9AA101D9BA70}" dt="2025-03-24T00:14:01.222" v="268" actId="2696"/>
        <pc:sldMkLst>
          <pc:docMk/>
          <pc:sldMk cId="774693888" sldId="282"/>
        </pc:sldMkLst>
      </pc:sldChg>
      <pc:sldChg chg="del">
        <pc:chgData name="Jauhar, Mehar (A&amp;F)" userId="6b184fc0-f80d-46ab-a4ba-4a5755ad07a6" providerId="ADAL" clId="{CE9DF3BE-AD49-244D-87B1-9AA101D9BA70}" dt="2025-03-24T00:14:01.179" v="254" actId="2696"/>
        <pc:sldMkLst>
          <pc:docMk/>
          <pc:sldMk cId="3068258870" sldId="283"/>
        </pc:sldMkLst>
      </pc:sldChg>
      <pc:sldChg chg="del">
        <pc:chgData name="Jauhar, Mehar (A&amp;F)" userId="6b184fc0-f80d-46ab-a4ba-4a5755ad07a6" providerId="ADAL" clId="{CE9DF3BE-AD49-244D-87B1-9AA101D9BA70}" dt="2025-03-24T00:14:01.177" v="253" actId="2696"/>
        <pc:sldMkLst>
          <pc:docMk/>
          <pc:sldMk cId="2613441173" sldId="284"/>
        </pc:sldMkLst>
      </pc:sldChg>
      <pc:sldChg chg="del">
        <pc:chgData name="Jauhar, Mehar (A&amp;F)" userId="6b184fc0-f80d-46ab-a4ba-4a5755ad07a6" providerId="ADAL" clId="{CE9DF3BE-AD49-244D-87B1-9AA101D9BA70}" dt="2025-03-24T00:14:01.198" v="259" actId="2696"/>
        <pc:sldMkLst>
          <pc:docMk/>
          <pc:sldMk cId="2086959325" sldId="289"/>
        </pc:sldMk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3941707896" sldId="289"/>
        </pc:sldMkLst>
      </pc:sldChg>
      <pc:sldChg chg="del">
        <pc:chgData name="Jauhar, Mehar (A&amp;F)" userId="6b184fc0-f80d-46ab-a4ba-4a5755ad07a6" providerId="ADAL" clId="{CE9DF3BE-AD49-244D-87B1-9AA101D9BA70}" dt="2025-03-24T00:14:01.181" v="255" actId="2696"/>
        <pc:sldMkLst>
          <pc:docMk/>
          <pc:sldMk cId="3266884010" sldId="290"/>
        </pc:sldMkLst>
      </pc:sldChg>
      <pc:sldChg chg="del">
        <pc:chgData name="Jauhar, Mehar (A&amp;F)" userId="6b184fc0-f80d-46ab-a4ba-4a5755ad07a6" providerId="ADAL" clId="{CE9DF3BE-AD49-244D-87B1-9AA101D9BA70}" dt="2025-03-24T00:14:40.818" v="282" actId="2696"/>
        <pc:sldMkLst>
          <pc:docMk/>
          <pc:sldMk cId="622504770" sldId="301"/>
        </pc:sldMkLst>
      </pc:sldChg>
      <pc:sldChg chg="del">
        <pc:chgData name="Jauhar, Mehar (A&amp;F)" userId="6b184fc0-f80d-46ab-a4ba-4a5755ad07a6" providerId="ADAL" clId="{CE9DF3BE-AD49-244D-87B1-9AA101D9BA70}" dt="2025-03-24T00:14:41.814" v="285" actId="2696"/>
        <pc:sldMkLst>
          <pc:docMk/>
          <pc:sldMk cId="2493315587" sldId="4325"/>
        </pc:sldMkLst>
      </pc:sldChg>
      <pc:sldChg chg="del">
        <pc:chgData name="Jauhar, Mehar (A&amp;F)" userId="6b184fc0-f80d-46ab-a4ba-4a5755ad07a6" providerId="ADAL" clId="{CE9DF3BE-AD49-244D-87B1-9AA101D9BA70}" dt="2025-03-24T00:14:41.332" v="284" actId="2696"/>
        <pc:sldMkLst>
          <pc:docMk/>
          <pc:sldMk cId="3276779293" sldId="4327"/>
        </pc:sldMkLst>
      </pc:sldChg>
      <pc:sldChg chg="del">
        <pc:chgData name="Jauhar, Mehar (A&amp;F)" userId="6b184fc0-f80d-46ab-a4ba-4a5755ad07a6" providerId="ADAL" clId="{CE9DF3BE-AD49-244D-87B1-9AA101D9BA70}" dt="2025-03-24T00:14:42.978" v="288" actId="2696"/>
        <pc:sldMkLst>
          <pc:docMk/>
          <pc:sldMk cId="3159138890" sldId="4354"/>
        </pc:sldMkLst>
      </pc:sldChg>
      <pc:sldChg chg="del">
        <pc:chgData name="Jauhar, Mehar (A&amp;F)" userId="6b184fc0-f80d-46ab-a4ba-4a5755ad07a6" providerId="ADAL" clId="{CE9DF3BE-AD49-244D-87B1-9AA101D9BA70}" dt="2025-03-24T00:14:43.471" v="289" actId="2696"/>
        <pc:sldMkLst>
          <pc:docMk/>
          <pc:sldMk cId="2110329904" sldId="4355"/>
        </pc:sldMkLst>
      </pc:sldChg>
      <pc:sldChg chg="del">
        <pc:chgData name="Jauhar, Mehar (A&amp;F)" userId="6b184fc0-f80d-46ab-a4ba-4a5755ad07a6" providerId="ADAL" clId="{CE9DF3BE-AD49-244D-87B1-9AA101D9BA70}" dt="2025-03-24T00:14:42.298" v="287" actId="2696"/>
        <pc:sldMkLst>
          <pc:docMk/>
          <pc:sldMk cId="3451034618" sldId="4357"/>
        </pc:sldMkLst>
      </pc:sldChg>
      <pc:sldChg chg="del">
        <pc:chgData name="Jauhar, Mehar (A&amp;F)" userId="6b184fc0-f80d-46ab-a4ba-4a5755ad07a6" providerId="ADAL" clId="{CE9DF3BE-AD49-244D-87B1-9AA101D9BA70}" dt="2025-03-24T00:14:44.206" v="290" actId="2696"/>
        <pc:sldMkLst>
          <pc:docMk/>
          <pc:sldMk cId="1036064627" sldId="4359"/>
        </pc:sldMkLst>
      </pc:sldChg>
      <pc:sldChg chg="del">
        <pc:chgData name="Jauhar, Mehar (A&amp;F)" userId="6b184fc0-f80d-46ab-a4ba-4a5755ad07a6" providerId="ADAL" clId="{CE9DF3BE-AD49-244D-87B1-9AA101D9BA70}" dt="2025-03-24T00:14:44.885" v="292" actId="2696"/>
        <pc:sldMkLst>
          <pc:docMk/>
          <pc:sldMk cId="2021130791" sldId="4360"/>
        </pc:sldMkLst>
      </pc:sldChg>
      <pc:sldChg chg="modSp mod addCm">
        <pc:chgData name="Jauhar, Mehar (A&amp;F)" userId="6b184fc0-f80d-46ab-a4ba-4a5755ad07a6" providerId="ADAL" clId="{CE9DF3BE-AD49-244D-87B1-9AA101D9BA70}" dt="2025-03-24T00:02:13.256" v="70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CE9DF3BE-AD49-244D-87B1-9AA101D9BA70}" dt="2025-03-24T00:02:13.256" v="70"/>
              <pc2:cmMkLst xmlns:pc2="http://schemas.microsoft.com/office/powerpoint/2019/9/main/command">
                <pc:docMk/>
                <pc:sldMk cId="1561720608" sldId="2147481257"/>
                <pc2:cmMk id="{936FA0B9-567C-EA4E-80F8-6D3B1903E9D6}"/>
              </pc2:cmMkLst>
            </pc226:cmChg>
          </p:ext>
        </pc:extLst>
      </pc:sldChg>
      <pc:sldChg chg="addCm delCm modCm">
        <pc:chgData name="Jauhar, Mehar (A&amp;F)" userId="6b184fc0-f80d-46ab-a4ba-4a5755ad07a6" providerId="ADAL" clId="{CE9DF3BE-AD49-244D-87B1-9AA101D9BA70}" dt="2025-03-24T18:53:24.273" v="773"/>
        <pc:sldMkLst>
          <pc:docMk/>
          <pc:sldMk cId="1721034712" sldId="214748152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53:24.273" v="773"/>
              <pc2:cmMkLst xmlns:pc2="http://schemas.microsoft.com/office/powerpoint/2019/9/main/command">
                <pc:docMk/>
                <pc:sldMk cId="1721034712" sldId="2147481527"/>
                <pc2:cmMk id="{7FA132E7-3ADC-1746-9DFA-0AFFE3835EE3}"/>
              </pc2:cmMkLst>
            </pc226:cmChg>
          </p:ext>
        </pc:extLst>
      </pc:sldChg>
      <pc:sldChg chg="addSp delSp modSp mod">
        <pc:chgData name="Jauhar, Mehar (A&amp;F)" userId="6b184fc0-f80d-46ab-a4ba-4a5755ad07a6" providerId="ADAL" clId="{CE9DF3BE-AD49-244D-87B1-9AA101D9BA70}" dt="2025-03-24T16:18:47.258" v="557" actId="13926"/>
        <pc:sldMkLst>
          <pc:docMk/>
          <pc:sldMk cId="2733478352" sldId="2147481541"/>
        </pc:sldMkLst>
        <pc:spChg chg="add mod">
          <ac:chgData name="Jauhar, Mehar (A&amp;F)" userId="6b184fc0-f80d-46ab-a4ba-4a5755ad07a6" providerId="ADAL" clId="{CE9DF3BE-AD49-244D-87B1-9AA101D9BA70}" dt="2025-03-24T16:18:32.058" v="555" actId="13926"/>
          <ac:spMkLst>
            <pc:docMk/>
            <pc:sldMk cId="2733478352" sldId="2147481541"/>
            <ac:spMk id="7" creationId="{D6DD23FF-4484-4223-CEF2-8D5E7E176F34}"/>
          </ac:spMkLst>
        </pc:spChg>
        <pc:spChg chg="mod">
          <ac:chgData name="Jauhar, Mehar (A&amp;F)" userId="6b184fc0-f80d-46ab-a4ba-4a5755ad07a6" providerId="ADAL" clId="{CE9DF3BE-AD49-244D-87B1-9AA101D9BA70}" dt="2025-03-24T16:18:47.258" v="557" actId="13926"/>
          <ac:spMkLst>
            <pc:docMk/>
            <pc:sldMk cId="2733478352" sldId="2147481541"/>
            <ac:spMk id="17" creationId="{B5C9FE1D-3B80-18A6-EDAE-AF424C50E0C5}"/>
          </ac:spMkLst>
        </pc:spChg>
        <pc:spChg chg="mod">
          <ac:chgData name="Jauhar, Mehar (A&amp;F)" userId="6b184fc0-f80d-46ab-a4ba-4a5755ad07a6" providerId="ADAL" clId="{CE9DF3BE-AD49-244D-87B1-9AA101D9BA70}" dt="2025-03-24T16:18:35.107" v="556" actId="13926"/>
          <ac:spMkLst>
            <pc:docMk/>
            <pc:sldMk cId="2733478352" sldId="2147481541"/>
            <ac:spMk id="19" creationId="{4173B900-C776-D277-79B5-E13B07BF94A8}"/>
          </ac:spMkLst>
        </pc:spChg>
        <pc:picChg chg="add mod">
          <ac:chgData name="Jauhar, Mehar (A&amp;F)" userId="6b184fc0-f80d-46ab-a4ba-4a5755ad07a6" providerId="ADAL" clId="{CE9DF3BE-AD49-244D-87B1-9AA101D9BA70}" dt="2025-03-24T16:18:02.285" v="547" actId="1076"/>
          <ac:picMkLst>
            <pc:docMk/>
            <pc:sldMk cId="2733478352" sldId="2147481541"/>
            <ac:picMk id="6" creationId="{F0F047DD-22E4-2D4D-6AE9-1BF4E0E69DE3}"/>
          </ac:picMkLst>
        </pc:picChg>
      </pc:sldChg>
      <pc:sldChg chg="addSp delSp modSp mod">
        <pc:chgData name="Jauhar, Mehar (A&amp;F)" userId="6b184fc0-f80d-46ab-a4ba-4a5755ad07a6" providerId="ADAL" clId="{CE9DF3BE-AD49-244D-87B1-9AA101D9BA70}" dt="2025-03-24T16:18:28.929" v="554" actId="13926"/>
        <pc:sldMkLst>
          <pc:docMk/>
          <pc:sldMk cId="719758237" sldId="2147481542"/>
        </pc:sldMkLst>
        <pc:spChg chg="mod">
          <ac:chgData name="Jauhar, Mehar (A&amp;F)" userId="6b184fc0-f80d-46ab-a4ba-4a5755ad07a6" providerId="ADAL" clId="{CE9DF3BE-AD49-244D-87B1-9AA101D9BA70}" dt="2025-03-24T16:18:26.077" v="553" actId="13926"/>
          <ac:spMkLst>
            <pc:docMk/>
            <pc:sldMk cId="719758237" sldId="2147481542"/>
            <ac:spMk id="3" creationId="{5B7E331D-BBF4-F72B-9860-23E6633FC11C}"/>
          </ac:spMkLst>
        </pc:spChg>
        <pc:spChg chg="add mod">
          <ac:chgData name="Jauhar, Mehar (A&amp;F)" userId="6b184fc0-f80d-46ab-a4ba-4a5755ad07a6" providerId="ADAL" clId="{CE9DF3BE-AD49-244D-87B1-9AA101D9BA70}" dt="2025-03-24T16:18:23.594" v="552" actId="13926"/>
          <ac:spMkLst>
            <pc:docMk/>
            <pc:sldMk cId="719758237" sldId="2147481542"/>
            <ac:spMk id="5" creationId="{E7613295-94E2-BB92-BCFA-94E05EEAD996}"/>
          </ac:spMkLst>
        </pc:spChg>
        <pc:spChg chg="mod">
          <ac:chgData name="Jauhar, Mehar (A&amp;F)" userId="6b184fc0-f80d-46ab-a4ba-4a5755ad07a6" providerId="ADAL" clId="{CE9DF3BE-AD49-244D-87B1-9AA101D9BA70}" dt="2025-03-24T16:18:28.929" v="554" actId="13926"/>
          <ac:spMkLst>
            <pc:docMk/>
            <pc:sldMk cId="719758237" sldId="2147481542"/>
            <ac:spMk id="20" creationId="{BB986B14-B969-27A4-1D66-72EF5F11999D}"/>
          </ac:spMkLst>
        </pc:spChg>
        <pc:picChg chg="add mod">
          <ac:chgData name="Jauhar, Mehar (A&amp;F)" userId="6b184fc0-f80d-46ab-a4ba-4a5755ad07a6" providerId="ADAL" clId="{CE9DF3BE-AD49-244D-87B1-9AA101D9BA70}" dt="2025-03-24T16:16:59.891" v="532" actId="1076"/>
          <ac:picMkLst>
            <pc:docMk/>
            <pc:sldMk cId="719758237" sldId="2147481542"/>
            <ac:picMk id="4" creationId="{0A2FE876-64CB-09D6-FB45-C5E74412EB8A}"/>
          </ac:picMkLst>
        </pc:picChg>
      </pc:sldChg>
      <pc:sldChg chg="delSp modSp del mod">
        <pc:chgData name="Jauhar, Mehar (A&amp;F)" userId="6b184fc0-f80d-46ab-a4ba-4a5755ad07a6" providerId="ADAL" clId="{CE9DF3BE-AD49-244D-87B1-9AA101D9BA70}" dt="2025-03-24T16:18:18.638" v="551" actId="2696"/>
        <pc:sldMkLst>
          <pc:docMk/>
          <pc:sldMk cId="3279986888" sldId="2147481543"/>
        </pc:sldMkLst>
      </pc:sldChg>
      <pc:sldChg chg="modSp del mod addCm modCm">
        <pc:chgData name="Jauhar, Mehar (A&amp;F)" userId="6b184fc0-f80d-46ab-a4ba-4a5755ad07a6" providerId="ADAL" clId="{CE9DF3BE-AD49-244D-87B1-9AA101D9BA70}" dt="2025-03-24T16:13:07.033" v="523" actId="2696"/>
        <pc:sldMkLst>
          <pc:docMk/>
          <pc:sldMk cId="1703071084" sldId="214748154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CE9DF3BE-AD49-244D-87B1-9AA101D9BA70}" dt="2025-03-24T16:12:24.040" v="522" actId="20577"/>
              <pc2:cmMkLst xmlns:pc2="http://schemas.microsoft.com/office/powerpoint/2019/9/main/command">
                <pc:docMk/>
                <pc:sldMk cId="1703071084" sldId="2147481544"/>
                <pc2:cmMk id="{BA7317EB-A518-0B45-BD8B-A00BF3A71508}"/>
              </pc2:cmMkLst>
            </pc226:cmChg>
          </p:ext>
        </pc:extLst>
      </pc:sldChg>
      <pc:sldChg chg="modSp mod addCm">
        <pc:chgData name="Jauhar, Mehar (A&amp;F)" userId="6b184fc0-f80d-46ab-a4ba-4a5755ad07a6" providerId="ADAL" clId="{CE9DF3BE-AD49-244D-87B1-9AA101D9BA70}" dt="2025-03-24T00:03:22.760" v="96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CE9DF3BE-AD49-244D-87B1-9AA101D9BA70}" dt="2025-03-24T00:03:22.760" v="96"/>
              <pc2:cmMkLst xmlns:pc2="http://schemas.microsoft.com/office/powerpoint/2019/9/main/command">
                <pc:docMk/>
                <pc:sldMk cId="2126720455" sldId="2147481550"/>
                <pc2:cmMk id="{2DE230B2-5893-AB4D-81B1-266EF1E192F9}"/>
              </pc2:cmMkLst>
            </pc226:cmChg>
          </p:ext>
        </pc:extLst>
      </pc:sldChg>
      <pc:sldChg chg="addSp delSp modSp mod">
        <pc:chgData name="Jauhar, Mehar (A&amp;F)" userId="6b184fc0-f80d-46ab-a4ba-4a5755ad07a6" providerId="ADAL" clId="{CE9DF3BE-AD49-244D-87B1-9AA101D9BA70}" dt="2025-03-24T00:40:11.455" v="513"/>
        <pc:sldMkLst>
          <pc:docMk/>
          <pc:sldMk cId="2936321618" sldId="2147483469"/>
        </pc:sldMkLst>
      </pc:sldChg>
      <pc:sldChg chg="modSp mod delCm modCm">
        <pc:chgData name="Jauhar, Mehar (A&amp;F)" userId="6b184fc0-f80d-46ab-a4ba-4a5755ad07a6" providerId="ADAL" clId="{CE9DF3BE-AD49-244D-87B1-9AA101D9BA70}" dt="2025-03-24T18:53:44.679" v="777"/>
        <pc:sldMkLst>
          <pc:docMk/>
          <pc:sldMk cId="866654257" sldId="214748347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Jauhar, Mehar (A&amp;F)" userId="6b184fc0-f80d-46ab-a4ba-4a5755ad07a6" providerId="ADAL" clId="{CE9DF3BE-AD49-244D-87B1-9AA101D9BA70}" dt="2025-03-24T18:53:44.679" v="777"/>
              <pc2:cmMkLst xmlns:pc2="http://schemas.microsoft.com/office/powerpoint/2019/9/main/command">
                <pc:docMk/>
                <pc:sldMk cId="866654257" sldId="2147483472"/>
                <pc2:cmMk id="{4A27CBE3-712D-48E6-8BB0-436DD53E7B7B}"/>
              </pc2:cmMkLst>
              <pc226:cmRplyChg chg="add">
                <pc226:chgData name="Jauhar, Mehar (A&amp;F)" userId="6b184fc0-f80d-46ab-a4ba-4a5755ad07a6" providerId="ADAL" clId="{CE9DF3BE-AD49-244D-87B1-9AA101D9BA70}" dt="2025-03-24T18:53:03.090" v="772"/>
                <pc2:cmRplyMkLst xmlns:pc2="http://schemas.microsoft.com/office/powerpoint/2019/9/main/command">
                  <pc:docMk/>
                  <pc:sldMk cId="866654257" sldId="2147483472"/>
                  <pc2:cmMk id="{4A27CBE3-712D-48E6-8BB0-436DD53E7B7B}"/>
                  <pc2:cmRplyMk id="{633BB0CE-C4A7-A740-923B-63DC7F3080E5}"/>
                </pc2:cmRplyMkLst>
              </pc226:cmRplyChg>
            </pc226:cmChg>
          </p:ext>
        </pc:extLst>
      </pc:sldChg>
      <pc:sldChg chg="addSp delSp modSp mod addCm delCm modCm">
        <pc:chgData name="Jauhar, Mehar (A&amp;F)" userId="6b184fc0-f80d-46ab-a4ba-4a5755ad07a6" providerId="ADAL" clId="{CE9DF3BE-AD49-244D-87B1-9AA101D9BA70}" dt="2025-03-24T18:30:03.771" v="590" actId="478"/>
        <pc:sldMkLst>
          <pc:docMk/>
          <pc:sldMk cId="1741467460" sldId="2147483486"/>
        </pc:sldMkLst>
        <pc:picChg chg="mod">
          <ac:chgData name="Jauhar, Mehar (A&amp;F)" userId="6b184fc0-f80d-46ab-a4ba-4a5755ad07a6" providerId="ADAL" clId="{CE9DF3BE-AD49-244D-87B1-9AA101D9BA70}" dt="2025-03-24T00:19:57.387" v="501" actId="207"/>
          <ac:picMkLst>
            <pc:docMk/>
            <pc:sldMk cId="1741467460" sldId="2147483486"/>
            <ac:picMk id="26" creationId="{A5C7F27F-8EF8-15BC-BBCB-A51046B07BD4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29:30.823" v="587"/>
              <pc2:cmMkLst xmlns:pc2="http://schemas.microsoft.com/office/powerpoint/2019/9/main/command">
                <pc:docMk/>
                <pc:sldMk cId="1741467460" sldId="2147483486"/>
                <pc2:cmMk id="{C0EA50BB-706F-1F49-9B13-3F438BDF2EDD}"/>
              </pc2:cmMkLst>
            </pc226:cmChg>
          </p:ext>
        </pc:extLst>
      </pc:sldChg>
      <pc:sldChg chg="addCm delCm modCm">
        <pc:chgData name="Jauhar, Mehar (A&amp;F)" userId="6b184fc0-f80d-46ab-a4ba-4a5755ad07a6" providerId="ADAL" clId="{CE9DF3BE-AD49-244D-87B1-9AA101D9BA70}" dt="2025-03-24T18:53:28.684" v="774"/>
        <pc:sldMkLst>
          <pc:docMk/>
          <pc:sldMk cId="3830842327" sldId="214748348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53:28.684" v="774"/>
              <pc2:cmMkLst xmlns:pc2="http://schemas.microsoft.com/office/powerpoint/2019/9/main/command">
                <pc:docMk/>
                <pc:sldMk cId="3830842327" sldId="2147483487"/>
                <pc2:cmMk id="{C38BFBE2-05A7-A644-A132-09335AC22215}"/>
              </pc2:cmMkLst>
            </pc226:cmChg>
          </p:ext>
        </pc:extLst>
      </pc:sldChg>
      <pc:sldChg chg="del">
        <pc:chgData name="Jauhar, Mehar (A&amp;F)" userId="6b184fc0-f80d-46ab-a4ba-4a5755ad07a6" providerId="ADAL" clId="{CE9DF3BE-AD49-244D-87B1-9AA101D9BA70}" dt="2025-03-24T00:14:01.173" v="251" actId="2696"/>
        <pc:sldMkLst>
          <pc:docMk/>
          <pc:sldMk cId="1154839399" sldId="2147483504"/>
        </pc:sldMkLst>
      </pc:sldChg>
      <pc:sldChg chg="del">
        <pc:chgData name="Jauhar, Mehar (A&amp;F)" userId="6b184fc0-f80d-46ab-a4ba-4a5755ad07a6" providerId="ADAL" clId="{CE9DF3BE-AD49-244D-87B1-9AA101D9BA70}" dt="2025-03-24T00:14:01.217" v="263" actId="2696"/>
        <pc:sldMkLst>
          <pc:docMk/>
          <pc:sldMk cId="3411955083" sldId="2147483505"/>
        </pc:sldMkLst>
      </pc:sldChg>
      <pc:sldChg chg="del">
        <pc:chgData name="Jauhar, Mehar (A&amp;F)" userId="6b184fc0-f80d-46ab-a4ba-4a5755ad07a6" providerId="ADAL" clId="{CE9DF3BE-AD49-244D-87B1-9AA101D9BA70}" dt="2025-03-24T00:14:01.232" v="269" actId="2696"/>
        <pc:sldMkLst>
          <pc:docMk/>
          <pc:sldMk cId="1606168665" sldId="2147483506"/>
        </pc:sldMkLst>
      </pc:sldChg>
      <pc:sldChg chg="del">
        <pc:chgData name="Jauhar, Mehar (A&amp;F)" userId="6b184fc0-f80d-46ab-a4ba-4a5755ad07a6" providerId="ADAL" clId="{CE9DF3BE-AD49-244D-87B1-9AA101D9BA70}" dt="2025-03-24T00:14:01.218" v="264" actId="2696"/>
        <pc:sldMkLst>
          <pc:docMk/>
          <pc:sldMk cId="3958664746" sldId="2147483507"/>
        </pc:sldMkLst>
      </pc:sldChg>
      <pc:sldChg chg="addCm delCm modCm">
        <pc:chgData name="Jauhar, Mehar (A&amp;F)" userId="6b184fc0-f80d-46ab-a4ba-4a5755ad07a6" providerId="ADAL" clId="{CE9DF3BE-AD49-244D-87B1-9AA101D9BA70}" dt="2025-03-24T18:53:31.314" v="775"/>
        <pc:sldMkLst>
          <pc:docMk/>
          <pc:sldMk cId="2318375095" sldId="214748350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53:31.314" v="775"/>
              <pc2:cmMkLst xmlns:pc2="http://schemas.microsoft.com/office/powerpoint/2019/9/main/command">
                <pc:docMk/>
                <pc:sldMk cId="2318375095" sldId="2147483508"/>
                <pc2:cmMk id="{4FDCE2BD-B8E6-3649-AD76-92DBDB6030F5}"/>
              </pc2:cmMkLst>
            </pc226:cmChg>
          </p:ext>
        </pc:extLst>
      </pc:sldChg>
      <pc:sldChg chg="add addCm delCm modCm">
        <pc:chgData name="Jauhar, Mehar (A&amp;F)" userId="6b184fc0-f80d-46ab-a4ba-4a5755ad07a6" providerId="ADAL" clId="{CE9DF3BE-AD49-244D-87B1-9AA101D9BA70}" dt="2025-03-24T18:49:21.504" v="592"/>
        <pc:sldMkLst>
          <pc:docMk/>
          <pc:sldMk cId="94522476" sldId="214748351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49:21.504" v="592"/>
              <pc2:cmMkLst xmlns:pc2="http://schemas.microsoft.com/office/powerpoint/2019/9/main/command">
                <pc:docMk/>
                <pc:sldMk cId="94522476" sldId="2147483513"/>
                <pc2:cmMk id="{09F5826E-E5E1-6349-8534-724438EEDB15}"/>
              </pc2:cmMkLst>
            </pc226:cmChg>
          </p:ext>
        </pc:ext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0" sldId="2147483514"/>
        </pc:sldMk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1887881709" sldId="2147483515"/>
        </pc:sldMk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2976025070" sldId="2147483516"/>
        </pc:sldMkLst>
      </pc:sldChg>
      <pc:sldChg chg="modSp new mod addCm">
        <pc:chgData name="Jauhar, Mehar (A&amp;F)" userId="6b184fc0-f80d-46ab-a4ba-4a5755ad07a6" providerId="ADAL" clId="{CE9DF3BE-AD49-244D-87B1-9AA101D9BA70}" dt="2025-03-24T00:16:42.286" v="406"/>
        <pc:sldMkLst>
          <pc:docMk/>
          <pc:sldMk cId="4193757848" sldId="214748351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CE9DF3BE-AD49-244D-87B1-9AA101D9BA70}" dt="2025-03-24T00:16:42.286" v="406"/>
              <pc2:cmMkLst xmlns:pc2="http://schemas.microsoft.com/office/powerpoint/2019/9/main/command">
                <pc:docMk/>
                <pc:sldMk cId="4193757848" sldId="2147483517"/>
                <pc2:cmMk id="{1490865B-9141-9A48-9ADB-B5FCD112976E}"/>
              </pc2:cmMkLst>
            </pc226:cmChg>
          </p:ext>
        </pc:extLst>
      </pc:sldChg>
      <pc:sldChg chg="modSp mod">
        <pc:chgData name="Jauhar, Mehar (A&amp;F)" userId="6b184fc0-f80d-46ab-a4ba-4a5755ad07a6" providerId="ADAL" clId="{CE9DF3BE-AD49-244D-87B1-9AA101D9BA70}" dt="2025-03-24T14:29:11.089" v="514" actId="27636"/>
        <pc:sldMkLst>
          <pc:docMk/>
          <pc:sldMk cId="2776105033" sldId="2147483518"/>
        </pc:sldMkLst>
        <pc:spChg chg="mod">
          <ac:chgData name="Jauhar, Mehar (A&amp;F)" userId="6b184fc0-f80d-46ab-a4ba-4a5755ad07a6" providerId="ADAL" clId="{CE9DF3BE-AD49-244D-87B1-9AA101D9BA70}" dt="2025-03-24T14:29:11.089" v="514" actId="27636"/>
          <ac:spMkLst>
            <pc:docMk/>
            <pc:sldMk cId="2776105033" sldId="2147483518"/>
            <ac:spMk id="17" creationId="{FF263B81-AE0C-F979-F8C5-BEB915E536E8}"/>
          </ac:spMkLst>
        </pc:spChg>
      </pc:sldChg>
      <pc:sldMasterChg chg="del delSldLayout">
        <pc:chgData name="Jauhar, Mehar (A&amp;F)" userId="6b184fc0-f80d-46ab-a4ba-4a5755ad07a6" providerId="ADAL" clId="{CE9DF3BE-AD49-244D-87B1-9AA101D9BA70}" dt="2025-03-24T00:14:01.246" v="280" actId="2696"/>
        <pc:sldMasterMkLst>
          <pc:docMk/>
          <pc:sldMasterMk cId="3350085427" sldId="2147483978"/>
        </pc:sldMasterMkLst>
        <pc:sldLayoutChg chg="del">
          <pc:chgData name="Jauhar, Mehar (A&amp;F)" userId="6b184fc0-f80d-46ab-a4ba-4a5755ad07a6" providerId="ADAL" clId="{CE9DF3BE-AD49-244D-87B1-9AA101D9BA70}" dt="2025-03-24T00:14:01.240" v="271" actId="2696"/>
          <pc:sldLayoutMkLst>
            <pc:docMk/>
            <pc:sldMasterMk cId="3350085427" sldId="2147483978"/>
            <pc:sldLayoutMk cId="1156236838" sldId="2147483979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1" v="272" actId="2696"/>
          <pc:sldLayoutMkLst>
            <pc:docMk/>
            <pc:sldMasterMk cId="3350085427" sldId="2147483978"/>
            <pc:sldLayoutMk cId="2262721064" sldId="2147483980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1" v="273" actId="2696"/>
          <pc:sldLayoutMkLst>
            <pc:docMk/>
            <pc:sldMasterMk cId="3350085427" sldId="2147483978"/>
            <pc:sldLayoutMk cId="2062088724" sldId="2147483981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2" v="274" actId="2696"/>
          <pc:sldLayoutMkLst>
            <pc:docMk/>
            <pc:sldMasterMk cId="3350085427" sldId="2147483978"/>
            <pc:sldLayoutMk cId="3679648948" sldId="2147483982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2" v="275" actId="2696"/>
          <pc:sldLayoutMkLst>
            <pc:docMk/>
            <pc:sldMasterMk cId="3350085427" sldId="2147483978"/>
            <pc:sldLayoutMk cId="259992681" sldId="2147483983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3" v="276" actId="2696"/>
          <pc:sldLayoutMkLst>
            <pc:docMk/>
            <pc:sldMasterMk cId="3350085427" sldId="2147483978"/>
            <pc:sldLayoutMk cId="4163032381" sldId="2147483984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4" v="277" actId="2696"/>
          <pc:sldLayoutMkLst>
            <pc:docMk/>
            <pc:sldMasterMk cId="3350085427" sldId="2147483978"/>
            <pc:sldLayoutMk cId="921831111" sldId="2147483985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4" v="278" actId="2696"/>
          <pc:sldLayoutMkLst>
            <pc:docMk/>
            <pc:sldMasterMk cId="3350085427" sldId="2147483978"/>
            <pc:sldLayoutMk cId="1719478332" sldId="2147483986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175" v="252" actId="2696"/>
          <pc:sldLayoutMkLst>
            <pc:docMk/>
            <pc:sldMasterMk cId="3350085427" sldId="2147483978"/>
            <pc:sldLayoutMk cId="2355827841" sldId="2147483987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00" v="261" actId="2696"/>
          <pc:sldLayoutMkLst>
            <pc:docMk/>
            <pc:sldMasterMk cId="3350085427" sldId="2147483978"/>
            <pc:sldLayoutMk cId="843834175" sldId="2147483988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5" v="279" actId="2696"/>
          <pc:sldLayoutMkLst>
            <pc:docMk/>
            <pc:sldMasterMk cId="3350085427" sldId="2147483978"/>
            <pc:sldLayoutMk cId="40761200" sldId="2147483989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196" v="258" actId="2696"/>
          <pc:sldLayoutMkLst>
            <pc:docMk/>
            <pc:sldMasterMk cId="3350085427" sldId="2147483978"/>
            <pc:sldLayoutMk cId="2259414926" sldId="2147483990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19" v="265" actId="2696"/>
          <pc:sldLayoutMkLst>
            <pc:docMk/>
            <pc:sldMasterMk cId="3350085427" sldId="2147483978"/>
            <pc:sldLayoutMk cId="1714961260" sldId="2147483991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21" v="267" actId="2696"/>
          <pc:sldLayoutMkLst>
            <pc:docMk/>
            <pc:sldMasterMk cId="3350085427" sldId="2147483978"/>
            <pc:sldLayoutMk cId="4278939923" sldId="2147483992"/>
          </pc:sldLayoutMkLst>
        </pc:sldLayoutChg>
      </pc:sldMasterChg>
      <pc:sldMasterChg chg="delSldLayout">
        <pc:chgData name="Jauhar, Mehar (A&amp;F)" userId="6b184fc0-f80d-46ab-a4ba-4a5755ad07a6" providerId="ADAL" clId="{CE9DF3BE-AD49-244D-87B1-9AA101D9BA70}" dt="2025-03-24T00:14:40.820" v="283" actId="2696"/>
        <pc:sldMasterMkLst>
          <pc:docMk/>
          <pc:sldMasterMk cId="436886680" sldId="2147484005"/>
        </pc:sldMasterMkLst>
        <pc:sldLayoutChg chg="del">
          <pc:chgData name="Jauhar, Mehar (A&amp;F)" userId="6b184fc0-f80d-46ab-a4ba-4a5755ad07a6" providerId="ADAL" clId="{CE9DF3BE-AD49-244D-87B1-9AA101D9BA70}" dt="2025-03-24T00:14:40.820" v="283" actId="2696"/>
          <pc:sldLayoutMkLst>
            <pc:docMk/>
            <pc:sldMasterMk cId="436886680" sldId="2147484005"/>
            <pc:sldLayoutMk cId="655670422" sldId="2147484020"/>
          </pc:sldLayoutMkLst>
        </pc:sldLayoutChg>
      </pc:sldMasterChg>
      <pc:sldMasterChg chg="del delSldLayout">
        <pc:chgData name="Jauhar, Mehar (A&amp;F)" userId="6b184fc0-f80d-46ab-a4ba-4a5755ad07a6" providerId="ADAL" clId="{CE9DF3BE-AD49-244D-87B1-9AA101D9BA70}" dt="2025-03-24T00:14:44.888" v="294" actId="2696"/>
        <pc:sldMasterMkLst>
          <pc:docMk/>
          <pc:sldMasterMk cId="639909419" sldId="2147484021"/>
        </pc:sldMasterMkLst>
        <pc:sldLayoutChg chg="del">
          <pc:chgData name="Jauhar, Mehar (A&amp;F)" userId="6b184fc0-f80d-46ab-a4ba-4a5755ad07a6" providerId="ADAL" clId="{CE9DF3BE-AD49-244D-87B1-9AA101D9BA70}" dt="2025-03-24T00:14:44.887" v="293" actId="2696"/>
          <pc:sldLayoutMkLst>
            <pc:docMk/>
            <pc:sldMasterMk cId="639909419" sldId="2147484021"/>
            <pc:sldLayoutMk cId="4175004884" sldId="2147484022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41.816" v="286" actId="2696"/>
          <pc:sldLayoutMkLst>
            <pc:docMk/>
            <pc:sldMasterMk cId="639909419" sldId="2147484021"/>
            <pc:sldLayoutMk cId="668908855" sldId="2147484023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44.208" v="291" actId="2696"/>
          <pc:sldLayoutMkLst>
            <pc:docMk/>
            <pc:sldMasterMk cId="639909419" sldId="2147484021"/>
            <pc:sldLayoutMk cId="579999686" sldId="2147484024"/>
          </pc:sldLayoutMkLst>
        </pc:sldLayoutChg>
      </pc:sldMasterChg>
    </pc:docChg>
  </pc:docChgLst>
  <pc:docChgLst>
    <pc:chgData name="Jauhar, Mehar (A&amp;F)" userId="6b184fc0-f80d-46ab-a4ba-4a5755ad07a6" providerId="ADAL" clId="{D15E2C3C-9376-8E46-B729-9B40E2A5470D}"/>
    <pc:docChg chg="undo custSel addSld delSld modSld sldOrd delMainMaster">
      <pc:chgData name="Jauhar, Mehar (A&amp;F)" userId="6b184fc0-f80d-46ab-a4ba-4a5755ad07a6" providerId="ADAL" clId="{D15E2C3C-9376-8E46-B729-9B40E2A5470D}" dt="2025-06-04T15:17:20.672" v="211"/>
      <pc:docMkLst>
        <pc:docMk/>
      </pc:docMkLst>
      <pc:sldChg chg="modSp mod">
        <pc:chgData name="Jauhar, Mehar (A&amp;F)" userId="6b184fc0-f80d-46ab-a4ba-4a5755ad07a6" providerId="ADAL" clId="{D15E2C3C-9376-8E46-B729-9B40E2A5470D}" dt="2025-06-03T19:43:43.271" v="145" actId="20577"/>
        <pc:sldMkLst>
          <pc:docMk/>
          <pc:sldMk cId="1706473524" sldId="256"/>
        </pc:sldMkLst>
        <pc:spChg chg="mod">
          <ac:chgData name="Jauhar, Mehar (A&amp;F)" userId="6b184fc0-f80d-46ab-a4ba-4a5755ad07a6" providerId="ADAL" clId="{D15E2C3C-9376-8E46-B729-9B40E2A5470D}" dt="2025-06-03T19:43:43.271" v="145" actId="20577"/>
          <ac:spMkLst>
            <pc:docMk/>
            <pc:sldMk cId="1706473524" sldId="256"/>
            <ac:spMk id="3" creationId="{6BF96C16-BDB2-15EE-4778-FA5D2DB3A873}"/>
          </ac:spMkLst>
        </pc:spChg>
      </pc:sldChg>
      <pc:sldChg chg="modSp mod">
        <pc:chgData name="Jauhar, Mehar (A&amp;F)" userId="6b184fc0-f80d-46ab-a4ba-4a5755ad07a6" providerId="ADAL" clId="{D15E2C3C-9376-8E46-B729-9B40E2A5470D}" dt="2025-06-03T19:43:35.031" v="143" actId="20577"/>
        <pc:sldMkLst>
          <pc:docMk/>
          <pc:sldMk cId="2266968594" sldId="257"/>
        </pc:sldMkLst>
        <pc:spChg chg="mod">
          <ac:chgData name="Jauhar, Mehar (A&amp;F)" userId="6b184fc0-f80d-46ab-a4ba-4a5755ad07a6" providerId="ADAL" clId="{D15E2C3C-9376-8E46-B729-9B40E2A5470D}" dt="2025-06-03T19:43:35.031" v="143" actId="20577"/>
          <ac:spMkLst>
            <pc:docMk/>
            <pc:sldMk cId="2266968594" sldId="257"/>
            <ac:spMk id="16" creationId="{C1E870C5-37B9-F0CB-E8F5-BCA57428FB08}"/>
          </ac:spMkLst>
        </pc:spChg>
      </pc:sldChg>
      <pc:sldChg chg="add">
        <pc:chgData name="Jauhar, Mehar (A&amp;F)" userId="6b184fc0-f80d-46ab-a4ba-4a5755ad07a6" providerId="ADAL" clId="{D15E2C3C-9376-8E46-B729-9B40E2A5470D}" dt="2025-06-03T21:12:25.094" v="146"/>
        <pc:sldMkLst>
          <pc:docMk/>
          <pc:sldMk cId="577836834" sldId="261"/>
        </pc:sldMkLst>
      </pc:sldChg>
      <pc:sldChg chg="add">
        <pc:chgData name="Jauhar, Mehar (A&amp;F)" userId="6b184fc0-f80d-46ab-a4ba-4a5755ad07a6" providerId="ADAL" clId="{D15E2C3C-9376-8E46-B729-9B40E2A5470D}" dt="2025-06-03T21:12:25.094" v="146"/>
        <pc:sldMkLst>
          <pc:docMk/>
          <pc:sldMk cId="4265183314" sldId="262"/>
        </pc:sldMkLst>
      </pc:sldChg>
      <pc:sldChg chg="add">
        <pc:chgData name="Jauhar, Mehar (A&amp;F)" userId="6b184fc0-f80d-46ab-a4ba-4a5755ad07a6" providerId="ADAL" clId="{D15E2C3C-9376-8E46-B729-9B40E2A5470D}" dt="2025-06-03T21:12:25.094" v="146"/>
        <pc:sldMkLst>
          <pc:docMk/>
          <pc:sldMk cId="3649385627" sldId="265"/>
        </pc:sldMkLst>
      </pc:sldChg>
      <pc:sldChg chg="add">
        <pc:chgData name="Jauhar, Mehar (A&amp;F)" userId="6b184fc0-f80d-46ab-a4ba-4a5755ad07a6" providerId="ADAL" clId="{D15E2C3C-9376-8E46-B729-9B40E2A5470D}" dt="2025-06-03T21:12:25.094" v="146"/>
        <pc:sldMkLst>
          <pc:docMk/>
          <pc:sldMk cId="3907225946" sldId="266"/>
        </pc:sldMkLst>
      </pc:sldChg>
      <pc:sldChg chg="add">
        <pc:chgData name="Jauhar, Mehar (A&amp;F)" userId="6b184fc0-f80d-46ab-a4ba-4a5755ad07a6" providerId="ADAL" clId="{D15E2C3C-9376-8E46-B729-9B40E2A5470D}" dt="2025-06-03T21:12:25.094" v="146"/>
        <pc:sldMkLst>
          <pc:docMk/>
          <pc:sldMk cId="2104758091" sldId="270"/>
        </pc:sldMkLst>
      </pc:sldChg>
      <pc:sldChg chg="modSp mod">
        <pc:chgData name="Jauhar, Mehar (A&amp;F)" userId="6b184fc0-f80d-46ab-a4ba-4a5755ad07a6" providerId="ADAL" clId="{D15E2C3C-9376-8E46-B729-9B40E2A5470D}" dt="2025-06-04T12:58:01.583" v="210" actId="20577"/>
        <pc:sldMkLst>
          <pc:docMk/>
          <pc:sldMk cId="2568010536" sldId="276"/>
        </pc:sldMkLst>
        <pc:graphicFrameChg chg="mod modGraphic">
          <ac:chgData name="Jauhar, Mehar (A&amp;F)" userId="6b184fc0-f80d-46ab-a4ba-4a5755ad07a6" providerId="ADAL" clId="{D15E2C3C-9376-8E46-B729-9B40E2A5470D}" dt="2025-06-04T12:58:01.583" v="210" actId="20577"/>
          <ac:graphicFrameMkLst>
            <pc:docMk/>
            <pc:sldMk cId="2568010536" sldId="276"/>
            <ac:graphicFrameMk id="4" creationId="{BCAF1A5D-AAF4-A5C2-F609-471FBC3134D9}"/>
          </ac:graphicFrameMkLst>
        </pc:graphicFrameChg>
      </pc:sldChg>
      <pc:sldChg chg="add">
        <pc:chgData name="Jauhar, Mehar (A&amp;F)" userId="6b184fc0-f80d-46ab-a4ba-4a5755ad07a6" providerId="ADAL" clId="{D15E2C3C-9376-8E46-B729-9B40E2A5470D}" dt="2025-06-03T19:39:43.698" v="131"/>
        <pc:sldMkLst>
          <pc:docMk/>
          <pc:sldMk cId="663814086" sldId="3351"/>
        </pc:sldMkLst>
      </pc:sldChg>
      <pc:sldChg chg="add del">
        <pc:chgData name="Jauhar, Mehar (A&amp;F)" userId="6b184fc0-f80d-46ab-a4ba-4a5755ad07a6" providerId="ADAL" clId="{D15E2C3C-9376-8E46-B729-9B40E2A5470D}" dt="2025-06-03T19:33:29.837" v="118" actId="2696"/>
        <pc:sldMkLst>
          <pc:docMk/>
          <pc:sldMk cId="1131254526" sldId="3351"/>
        </pc:sldMkLst>
      </pc:sldChg>
      <pc:sldChg chg="add del">
        <pc:chgData name="Jauhar, Mehar (A&amp;F)" userId="6b184fc0-f80d-46ab-a4ba-4a5755ad07a6" providerId="ADAL" clId="{D15E2C3C-9376-8E46-B729-9B40E2A5470D}" dt="2025-06-03T19:39:39.063" v="130" actId="2696"/>
        <pc:sldMkLst>
          <pc:docMk/>
          <pc:sldMk cId="3075907503" sldId="3351"/>
        </pc:sldMkLst>
      </pc:sldChg>
      <pc:sldChg chg="add">
        <pc:chgData name="Jauhar, Mehar (A&amp;F)" userId="6b184fc0-f80d-46ab-a4ba-4a5755ad07a6" providerId="ADAL" clId="{D15E2C3C-9376-8E46-B729-9B40E2A5470D}" dt="2025-06-04T15:17:20.672" v="211"/>
        <pc:sldMkLst>
          <pc:docMk/>
          <pc:sldMk cId="579724367" sldId="3431"/>
        </pc:sldMkLst>
      </pc:sldChg>
      <pc:sldChg chg="modSp mod">
        <pc:chgData name="Jauhar, Mehar (A&amp;F)" userId="6b184fc0-f80d-46ab-a4ba-4a5755ad07a6" providerId="ADAL" clId="{D15E2C3C-9376-8E46-B729-9B40E2A5470D}" dt="2025-06-03T19:43:11.899" v="139" actId="14734"/>
        <pc:sldMkLst>
          <pc:docMk/>
          <pc:sldMk cId="2459882351" sldId="2147483534"/>
        </pc:sldMkLst>
        <pc:graphicFrameChg chg="modGraphic">
          <ac:chgData name="Jauhar, Mehar (A&amp;F)" userId="6b184fc0-f80d-46ab-a4ba-4a5755ad07a6" providerId="ADAL" clId="{D15E2C3C-9376-8E46-B729-9B40E2A5470D}" dt="2025-06-03T19:43:11.899" v="139" actId="14734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  <pc:sldChg chg="add del">
        <pc:chgData name="Jauhar, Mehar (A&amp;F)" userId="6b184fc0-f80d-46ab-a4ba-4a5755ad07a6" providerId="ADAL" clId="{D15E2C3C-9376-8E46-B729-9B40E2A5470D}" dt="2025-06-03T19:39:39.063" v="130" actId="2696"/>
        <pc:sldMkLst>
          <pc:docMk/>
          <pc:sldMk cId="200370765" sldId="2147483541"/>
        </pc:sldMkLst>
      </pc:sldChg>
      <pc:sldChg chg="addSp delSp modSp add del mod ord">
        <pc:chgData name="Jauhar, Mehar (A&amp;F)" userId="6b184fc0-f80d-46ab-a4ba-4a5755ad07a6" providerId="ADAL" clId="{D15E2C3C-9376-8E46-B729-9B40E2A5470D}" dt="2025-06-03T19:33:29.837" v="118" actId="2696"/>
        <pc:sldMkLst>
          <pc:docMk/>
          <pc:sldMk cId="1641402658" sldId="2147483541"/>
        </pc:sldMkLst>
      </pc:sldChg>
      <pc:sldChg chg="add del">
        <pc:chgData name="Jauhar, Mehar (A&amp;F)" userId="6b184fc0-f80d-46ab-a4ba-4a5755ad07a6" providerId="ADAL" clId="{D15E2C3C-9376-8E46-B729-9B40E2A5470D}" dt="2025-06-03T21:20:40.347" v="179" actId="2696"/>
        <pc:sldMkLst>
          <pc:docMk/>
          <pc:sldMk cId="3724334468" sldId="2147483541"/>
        </pc:sldMkLst>
      </pc:sldChg>
      <pc:sldChg chg="add">
        <pc:chgData name="Jauhar, Mehar (A&amp;F)" userId="6b184fc0-f80d-46ab-a4ba-4a5755ad07a6" providerId="ADAL" clId="{D15E2C3C-9376-8E46-B729-9B40E2A5470D}" dt="2025-06-03T21:12:25.094" v="146"/>
        <pc:sldMkLst>
          <pc:docMk/>
          <pc:sldMk cId="109857222" sldId="2147483542"/>
        </pc:sldMkLst>
      </pc:sldChg>
      <pc:sldMasterChg chg="del delSldLayout">
        <pc:chgData name="Jauhar, Mehar (A&amp;F)" userId="6b184fc0-f80d-46ab-a4ba-4a5755ad07a6" providerId="ADAL" clId="{D15E2C3C-9376-8E46-B729-9B40E2A5470D}" dt="2025-06-03T19:33:29.837" v="118" actId="2696"/>
        <pc:sldMasterMkLst>
          <pc:docMk/>
          <pc:sldMasterMk cId="202665092" sldId="2147484070"/>
        </pc:sldMasterMkLst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3620286692" sldId="2147484071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3002470760" sldId="2147484072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851164464" sldId="2147484073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1441768300" sldId="2147484074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4062494517" sldId="2147484075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3601104236" sldId="2147484076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2490939988" sldId="2147484077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3771533198" sldId="2147484078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220129229" sldId="2147484079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3722249280" sldId="2147484080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3:29.837" v="118" actId="2696"/>
          <pc:sldLayoutMkLst>
            <pc:docMk/>
            <pc:sldMasterMk cId="202665092" sldId="2147484070"/>
            <pc:sldLayoutMk cId="1274564342" sldId="2147484081"/>
          </pc:sldLayoutMkLst>
        </pc:sldLayoutChg>
      </pc:sldMasterChg>
      <pc:sldMasterChg chg="del delSldLayout">
        <pc:chgData name="Jauhar, Mehar (A&amp;F)" userId="6b184fc0-f80d-46ab-a4ba-4a5755ad07a6" providerId="ADAL" clId="{D15E2C3C-9376-8E46-B729-9B40E2A5470D}" dt="2025-06-03T19:39:39.063" v="130" actId="2696"/>
        <pc:sldMasterMkLst>
          <pc:docMk/>
          <pc:sldMasterMk cId="2874427941" sldId="2147484070"/>
        </pc:sldMasterMkLst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940538623" sldId="2147484071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1607744287" sldId="2147484072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3241558337" sldId="2147484073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3713239596" sldId="2147484074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3670786408" sldId="2147484075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762202638" sldId="2147484076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2722621883" sldId="2147484077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1525367282" sldId="2147484078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3732168248" sldId="2147484079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1755880081" sldId="2147484080"/>
          </pc:sldLayoutMkLst>
        </pc:sldLayoutChg>
        <pc:sldLayoutChg chg="del">
          <pc:chgData name="Jauhar, Mehar (A&amp;F)" userId="6b184fc0-f80d-46ab-a4ba-4a5755ad07a6" providerId="ADAL" clId="{D15E2C3C-9376-8E46-B729-9B40E2A5470D}" dt="2025-06-03T19:39:39.063" v="130" actId="2696"/>
          <pc:sldLayoutMkLst>
            <pc:docMk/>
            <pc:sldMasterMk cId="2874427941" sldId="2147484070"/>
            <pc:sldLayoutMk cId="2876112355" sldId="2147484081"/>
          </pc:sldLayoutMkLst>
        </pc:sldLayoutChg>
      </pc:sldMasterChg>
    </pc:docChg>
  </pc:docChgLst>
  <pc:docChgLst>
    <pc:chgData name="Strain, Mallory (A&amp;F)" userId="S::mallory.strain@mass.gov::7f2f9c2c-98ee-44e6-afe8-8ea6a9111392" providerId="AD" clId="Web-{59458121-EB58-BED6-4FD3-EE496A3A2CB1}"/>
    <pc:docChg chg="modSld">
      <pc:chgData name="Strain, Mallory (A&amp;F)" userId="S::mallory.strain@mass.gov::7f2f9c2c-98ee-44e6-afe8-8ea6a9111392" providerId="AD" clId="Web-{59458121-EB58-BED6-4FD3-EE496A3A2CB1}" dt="2025-05-20T19:38:20.225" v="6" actId="20577"/>
      <pc:docMkLst>
        <pc:docMk/>
      </pc:docMkLst>
      <pc:sldChg chg="modSp">
        <pc:chgData name="Strain, Mallory (A&amp;F)" userId="S::mallory.strain@mass.gov::7f2f9c2c-98ee-44e6-afe8-8ea6a9111392" providerId="AD" clId="Web-{59458121-EB58-BED6-4FD3-EE496A3A2CB1}" dt="2025-05-20T19:38:20.225" v="6" actId="20577"/>
        <pc:sldMkLst>
          <pc:docMk/>
          <pc:sldMk cId="1423385475" sldId="2147481539"/>
        </pc:sldMkLst>
        <pc:spChg chg="mod">
          <ac:chgData name="Strain, Mallory (A&amp;F)" userId="S::mallory.strain@mass.gov::7f2f9c2c-98ee-44e6-afe8-8ea6a9111392" providerId="AD" clId="Web-{59458121-EB58-BED6-4FD3-EE496A3A2CB1}" dt="2025-05-20T19:38:20.225" v="6" actId="20577"/>
          <ac:spMkLst>
            <pc:docMk/>
            <pc:sldMk cId="1423385475" sldId="2147481539"/>
            <ac:spMk id="4" creationId="{F5B4FF78-B142-84EA-0463-0190E96E2742}"/>
          </ac:spMkLst>
        </pc:spChg>
      </pc:sldChg>
      <pc:sldChg chg="modSp">
        <pc:chgData name="Strain, Mallory (A&amp;F)" userId="S::mallory.strain@mass.gov::7f2f9c2c-98ee-44e6-afe8-8ea6a9111392" providerId="AD" clId="Web-{59458121-EB58-BED6-4FD3-EE496A3A2CB1}" dt="2025-05-20T19:37:46.147" v="2" actId="20577"/>
        <pc:sldMkLst>
          <pc:docMk/>
          <pc:sldMk cId="1949611792" sldId="2147483522"/>
        </pc:sldMkLst>
        <pc:spChg chg="mod">
          <ac:chgData name="Strain, Mallory (A&amp;F)" userId="S::mallory.strain@mass.gov::7f2f9c2c-98ee-44e6-afe8-8ea6a9111392" providerId="AD" clId="Web-{59458121-EB58-BED6-4FD3-EE496A3A2CB1}" dt="2025-05-20T19:37:46.147" v="2" actId="20577"/>
          <ac:spMkLst>
            <pc:docMk/>
            <pc:sldMk cId="1949611792" sldId="2147483522"/>
            <ac:spMk id="11" creationId="{C99D162D-B2EC-B50A-919C-1363298DF8E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nicipal Funds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B$2:$B$5</c:f>
              <c:numCache>
                <c:formatCode>"$"#,##0</c:formatCode>
                <c:ptCount val="1"/>
                <c:pt idx="0">
                  <c:v>120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26C7-42A2-8FA4-EECB216B757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sis Credit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C$2:$C$5</c:f>
              <c:numCache>
                <c:formatCode>"$"#,##0</c:formatCode>
                <c:ptCount val="1"/>
                <c:pt idx="0">
                  <c:v>12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26C7-42A2-8FA4-EECB216B757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WA Bonu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D$2:$D$5</c:f>
              <c:numCache>
                <c:formatCode>"$"#,##0</c:formatCode>
                <c:ptCount val="1"/>
                <c:pt idx="0">
                  <c:v>48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26C7-42A2-8FA4-EECB216B757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nergy Community Bonus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E$2:$E$5</c:f>
              <c:numCache>
                <c:formatCode>"$"#,##0</c:formatCode>
                <c:ptCount val="1"/>
                <c:pt idx="0">
                  <c:v>20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26C7-42A2-8FA4-EECB216B757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270869184"/>
        <c:axId val="1270869664"/>
      </c:barChart>
      <c:catAx>
        <c:axId val="127086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0869664"/>
        <c:crosses val="autoZero"/>
        <c:auto val="1"/>
        <c:lblAlgn val="ctr"/>
        <c:lblOffset val="100"/>
        <c:noMultiLvlLbl val="0"/>
      </c:catAx>
      <c:valAx>
        <c:axId val="127086966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0869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8DC64B-4E2D-44E2-9DF7-09484415FC99}" type="doc">
      <dgm:prSet loTypeId="urn:microsoft.com/office/officeart/2008/layout/Lin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9389673-3CE4-4756-A454-FD7F094BB1FA}">
      <dgm:prSet phldr="0" custT="1"/>
      <dgm:spPr/>
      <dgm:t>
        <a:bodyPr/>
        <a:lstStyle/>
        <a:p>
          <a:pPr rtl="0"/>
          <a:r>
            <a:rPr lang="en-US" sz="2000" dirty="0">
              <a:latin typeface="+mn-lt"/>
            </a:rPr>
            <a:t>Federal Matching Funds Legislation</a:t>
          </a:r>
          <a:endParaRPr lang="en-US" sz="2000" spc="200" dirty="0">
            <a:latin typeface="+mn-lt"/>
          </a:endParaRPr>
        </a:p>
      </dgm:t>
    </dgm:pt>
    <dgm:pt modelId="{89BC19D7-C4DE-42E0-9082-DB0401E2A15B}" type="parTrans" cxnId="{1A21BCB6-EF5E-491F-A983-90E9FD537A51}">
      <dgm:prSet/>
      <dgm:spPr/>
      <dgm:t>
        <a:bodyPr/>
        <a:lstStyle/>
        <a:p>
          <a:endParaRPr lang="en-US" sz="2000"/>
        </a:p>
      </dgm:t>
    </dgm:pt>
    <dgm:pt modelId="{42520116-B6A3-476D-8AA5-F55B2CF7AC5E}" type="sibTrans" cxnId="{1A21BCB6-EF5E-491F-A983-90E9FD537A51}">
      <dgm:prSet/>
      <dgm:spPr/>
      <dgm:t>
        <a:bodyPr/>
        <a:lstStyle/>
        <a:p>
          <a:endParaRPr lang="en-US" sz="2000"/>
        </a:p>
      </dgm:t>
    </dgm:pt>
    <dgm:pt modelId="{0EC34654-142D-432D-8A16-20673E4380BB}">
      <dgm:prSet phldr="0" custT="1"/>
      <dgm:spPr/>
      <dgm:t>
        <a:bodyPr/>
        <a:lstStyle/>
        <a:p>
          <a:r>
            <a:rPr lang="en-GB" sz="20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Ocean Tech Hub: </a:t>
          </a:r>
          <a:r>
            <a:rPr lang="en-US" sz="2000" noProof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Advancing Marine Technology Innovation through Regional Partnerships </a:t>
          </a:r>
          <a:endParaRPr lang="en-US" sz="2000" dirty="0">
            <a:latin typeface="+mn-lt"/>
          </a:endParaRPr>
        </a:p>
      </dgm:t>
    </dgm:pt>
    <dgm:pt modelId="{EC801795-9464-4AD3-84BB-50EF5AE10191}" type="sibTrans" cxnId="{D68DB329-6D97-410A-8F24-65454EB2CC10}">
      <dgm:prSet/>
      <dgm:spPr/>
      <dgm:t>
        <a:bodyPr/>
        <a:lstStyle/>
        <a:p>
          <a:endParaRPr lang="en-US" sz="2000"/>
        </a:p>
      </dgm:t>
    </dgm:pt>
    <dgm:pt modelId="{FB179382-DB9E-43C0-A562-75C96B8C5A4F}" type="parTrans" cxnId="{D68DB329-6D97-410A-8F24-65454EB2CC10}">
      <dgm:prSet/>
      <dgm:spPr/>
      <dgm:t>
        <a:bodyPr/>
        <a:lstStyle/>
        <a:p>
          <a:endParaRPr lang="en-US" sz="2000"/>
        </a:p>
      </dgm:t>
    </dgm:pt>
    <dgm:pt modelId="{9CD8F89A-A6B3-4175-9BCB-FB8D426F9326}">
      <dgm:prSet custT="1"/>
      <dgm:spPr/>
      <dgm:t>
        <a:bodyPr/>
        <a:lstStyle/>
        <a:p>
          <a:pPr rtl="0"/>
          <a:r>
            <a:rPr lang="en-US" sz="2000" dirty="0">
              <a:latin typeface="+mn-lt"/>
            </a:rPr>
            <a:t>Q&amp;A / Discussion</a:t>
          </a:r>
        </a:p>
      </dgm:t>
    </dgm:pt>
    <dgm:pt modelId="{8D1D619F-145B-476A-BED9-4B5C9DA18B71}" type="sibTrans" cxnId="{6762F825-E989-4956-B2F2-2B1CE8766227}">
      <dgm:prSet/>
      <dgm:spPr/>
      <dgm:t>
        <a:bodyPr/>
        <a:lstStyle/>
        <a:p>
          <a:endParaRPr lang="en-US" sz="2000"/>
        </a:p>
      </dgm:t>
    </dgm:pt>
    <dgm:pt modelId="{4B271377-646B-4282-970C-70F045735C0C}" type="parTrans" cxnId="{6762F825-E989-4956-B2F2-2B1CE8766227}">
      <dgm:prSet/>
      <dgm:spPr/>
      <dgm:t>
        <a:bodyPr/>
        <a:lstStyle/>
        <a:p>
          <a:endParaRPr lang="en-US" sz="2000"/>
        </a:p>
      </dgm:t>
    </dgm:pt>
    <dgm:pt modelId="{04480786-7A57-42F0-811C-D0F30D93C041}">
      <dgm:prSet phldr="0" custT="1"/>
      <dgm:spPr/>
      <dgm:t>
        <a:bodyPr/>
        <a:lstStyle/>
        <a:p>
          <a:pPr rtl="0"/>
          <a:r>
            <a:rPr lang="en-US" sz="2000" dirty="0">
              <a:latin typeface="+mn-lt"/>
            </a:rPr>
            <a:t>About FFIO</a:t>
          </a:r>
        </a:p>
      </dgm:t>
    </dgm:pt>
    <dgm:pt modelId="{4EEEDFA1-58BB-4C7E-8289-81BA44E808CB}" type="parTrans" cxnId="{A231580D-C10F-4E8A-B75B-1BD6FDD2BD18}">
      <dgm:prSet/>
      <dgm:spPr/>
      <dgm:t>
        <a:bodyPr/>
        <a:lstStyle/>
        <a:p>
          <a:endParaRPr lang="en-US" sz="2000"/>
        </a:p>
      </dgm:t>
    </dgm:pt>
    <dgm:pt modelId="{D2978AD3-37C2-403B-B3A1-A78E47E52F46}" type="sibTrans" cxnId="{A231580D-C10F-4E8A-B75B-1BD6FDD2BD18}">
      <dgm:prSet/>
      <dgm:spPr/>
      <dgm:t>
        <a:bodyPr/>
        <a:lstStyle/>
        <a:p>
          <a:endParaRPr lang="en-US" sz="2000"/>
        </a:p>
      </dgm:t>
    </dgm:pt>
    <dgm:pt modelId="{6FFA146C-84D5-4B6F-825E-B72737013D6D}">
      <dgm:prSet phldr="0" custT="1"/>
      <dgm:spPr/>
      <dgm:t>
        <a:bodyPr/>
        <a:lstStyle/>
        <a:p>
          <a:pPr algn="l"/>
          <a:r>
            <a:rPr lang="en-US" sz="2000" spc="200">
              <a:latin typeface="+mn-lt"/>
            </a:rPr>
            <a:t>New Federal </a:t>
          </a:r>
          <a:r>
            <a:rPr lang="en-US" sz="2000" spc="200" dirty="0">
              <a:latin typeface="+mn-lt"/>
            </a:rPr>
            <a:t>Funding Opportunities </a:t>
          </a:r>
          <a:r>
            <a:rPr lang="en-US" sz="2000" noProof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 </a:t>
          </a:r>
          <a:r>
            <a:rPr lang="en-GB" sz="20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 </a:t>
          </a:r>
          <a:r>
            <a:rPr lang="en-US" sz="2000" dirty="0">
              <a:latin typeface="+mn-lt"/>
            </a:rPr>
            <a:t> </a:t>
          </a:r>
        </a:p>
      </dgm:t>
    </dgm:pt>
    <dgm:pt modelId="{7844B180-640E-4273-A9E7-2CDD32E05CBA}" type="parTrans" cxnId="{F1B450EC-F83A-4474-BCAD-55B8F00BF5F2}">
      <dgm:prSet/>
      <dgm:spPr/>
      <dgm:t>
        <a:bodyPr/>
        <a:lstStyle/>
        <a:p>
          <a:endParaRPr lang="en-US" sz="2000"/>
        </a:p>
      </dgm:t>
    </dgm:pt>
    <dgm:pt modelId="{FC4FEF22-6666-44CA-AA83-A9ADFE050682}" type="sibTrans" cxnId="{F1B450EC-F83A-4474-BCAD-55B8F00BF5F2}">
      <dgm:prSet/>
      <dgm:spPr/>
      <dgm:t>
        <a:bodyPr/>
        <a:lstStyle/>
        <a:p>
          <a:endParaRPr lang="en-US" sz="2000"/>
        </a:p>
      </dgm:t>
    </dgm:pt>
    <dgm:pt modelId="{EADA10E3-92DD-324D-BA3F-45E775622B9E}">
      <dgm:prSet custT="1"/>
      <dgm:spPr/>
      <dgm:t>
        <a:bodyPr/>
        <a:lstStyle/>
        <a:p>
          <a:r>
            <a:rPr lang="en-US" sz="2000" spc="200" dirty="0">
              <a:latin typeface="+mn-lt"/>
            </a:rPr>
            <a:t>Local Government Engagement</a:t>
          </a:r>
          <a:endParaRPr lang="en-GB" sz="2000" dirty="0">
            <a:latin typeface="+mn-lt"/>
          </a:endParaRPr>
        </a:p>
      </dgm:t>
    </dgm:pt>
    <dgm:pt modelId="{B28F6C76-5914-FE40-95A5-8F903D7FCF37}" type="parTrans" cxnId="{DE2A392E-17BE-4443-8149-44CB3ADA66B1}">
      <dgm:prSet/>
      <dgm:spPr/>
      <dgm:t>
        <a:bodyPr/>
        <a:lstStyle/>
        <a:p>
          <a:endParaRPr lang="en-GB" sz="2000"/>
        </a:p>
      </dgm:t>
    </dgm:pt>
    <dgm:pt modelId="{1E3252AC-DA2B-304B-A759-FE0CCE079FBE}" type="sibTrans" cxnId="{DE2A392E-17BE-4443-8149-44CB3ADA66B1}">
      <dgm:prSet/>
      <dgm:spPr/>
      <dgm:t>
        <a:bodyPr/>
        <a:lstStyle/>
        <a:p>
          <a:endParaRPr lang="en-GB" sz="2000"/>
        </a:p>
      </dgm:t>
    </dgm:pt>
    <dgm:pt modelId="{5CD7CB18-20EC-AA4B-AA5C-B4D5B6913556}">
      <dgm:prSet custT="1"/>
      <dgm:spPr/>
      <dgm:t>
        <a:bodyPr/>
        <a:lstStyle/>
        <a:p>
          <a:r>
            <a:rPr lang="en-GB" sz="2000" dirty="0">
              <a:latin typeface="+mn-lt"/>
            </a:rPr>
            <a:t>Audience Engagement Exercise</a:t>
          </a:r>
        </a:p>
      </dgm:t>
    </dgm:pt>
    <dgm:pt modelId="{96C10035-5B07-F144-899C-4B06A31F9BFD}" type="parTrans" cxnId="{41F7BA1E-6FB0-5D48-A6D7-26D895813153}">
      <dgm:prSet/>
      <dgm:spPr/>
      <dgm:t>
        <a:bodyPr/>
        <a:lstStyle/>
        <a:p>
          <a:endParaRPr lang="en-GB" sz="2000"/>
        </a:p>
      </dgm:t>
    </dgm:pt>
    <dgm:pt modelId="{91DD7E5E-596E-1D40-B92A-174067F32D6B}" type="sibTrans" cxnId="{41F7BA1E-6FB0-5D48-A6D7-26D895813153}">
      <dgm:prSet/>
      <dgm:spPr/>
      <dgm:t>
        <a:bodyPr/>
        <a:lstStyle/>
        <a:p>
          <a:endParaRPr lang="en-GB" sz="2000"/>
        </a:p>
      </dgm:t>
    </dgm:pt>
    <dgm:pt modelId="{2838D1E6-B33E-4F02-B7FF-46F14BD10A50}">
      <dgm:prSet custT="1"/>
      <dgm:spPr/>
      <dgm:t>
        <a:bodyPr/>
        <a:lstStyle/>
        <a:p>
          <a:r>
            <a:rPr lang="en-US" sz="2000" b="0" i="0" u="none" dirty="0">
              <a:latin typeface="+mn-lt"/>
            </a:rPr>
            <a:t>MassDOT Municipal Grants</a:t>
          </a:r>
          <a:endParaRPr lang="en-GB" sz="2000" dirty="0">
            <a:latin typeface="+mn-lt"/>
          </a:endParaRPr>
        </a:p>
      </dgm:t>
    </dgm:pt>
    <dgm:pt modelId="{3415DD49-52F7-4CF3-BE0E-9DADE9230DC6}" type="parTrans" cxnId="{0B0EF535-D532-4E54-9756-0352918DDB13}">
      <dgm:prSet/>
      <dgm:spPr/>
      <dgm:t>
        <a:bodyPr/>
        <a:lstStyle/>
        <a:p>
          <a:endParaRPr lang="en-US" sz="2000"/>
        </a:p>
      </dgm:t>
    </dgm:pt>
    <dgm:pt modelId="{6A4BD05C-08B4-4A10-9FF7-DC427FECE0DD}" type="sibTrans" cxnId="{0B0EF535-D532-4E54-9756-0352918DDB13}">
      <dgm:prSet/>
      <dgm:spPr/>
      <dgm:t>
        <a:bodyPr/>
        <a:lstStyle/>
        <a:p>
          <a:endParaRPr lang="en-US" sz="2000"/>
        </a:p>
      </dgm:t>
    </dgm:pt>
    <dgm:pt modelId="{619AEFD2-9015-0148-9D91-3898E2F38507}">
      <dgm:prSet custT="1"/>
      <dgm:spPr/>
      <dgm:t>
        <a:bodyPr/>
        <a:lstStyle/>
        <a:p>
          <a:r>
            <a:rPr lang="en-US" sz="2000">
              <a:latin typeface="+mn-lt"/>
            </a:rPr>
            <a:t>Direct Pay </a:t>
          </a:r>
          <a:endParaRPr lang="en-GB" sz="2000">
            <a:latin typeface="+mn-lt"/>
          </a:endParaRPr>
        </a:p>
      </dgm:t>
    </dgm:pt>
    <dgm:pt modelId="{88115BD5-FD5D-1644-AA2C-D1E6C56C835A}" type="sibTrans" cxnId="{9DD176A3-88BE-DD46-AC81-5611D854A8DD}">
      <dgm:prSet/>
      <dgm:spPr/>
      <dgm:t>
        <a:bodyPr/>
        <a:lstStyle/>
        <a:p>
          <a:endParaRPr lang="en-GB" sz="2000"/>
        </a:p>
      </dgm:t>
    </dgm:pt>
    <dgm:pt modelId="{11D0C069-8BD2-F44F-8D37-763F539173BC}" type="parTrans" cxnId="{9DD176A3-88BE-DD46-AC81-5611D854A8DD}">
      <dgm:prSet/>
      <dgm:spPr/>
      <dgm:t>
        <a:bodyPr/>
        <a:lstStyle/>
        <a:p>
          <a:endParaRPr lang="en-GB" sz="2000"/>
        </a:p>
      </dgm:t>
    </dgm:pt>
    <dgm:pt modelId="{895169C1-129B-FC41-A074-BB9DFC67ACC5}">
      <dgm:prSet custT="1"/>
      <dgm:spPr/>
      <dgm:t>
        <a:bodyPr/>
        <a:lstStyle/>
        <a:p>
          <a:r>
            <a:rPr lang="en-GB" sz="2000" dirty="0">
              <a:latin typeface="+mn-lt"/>
            </a:rPr>
            <a:t>New Bedford Port Authority: Leonard’s Wharf</a:t>
          </a:r>
        </a:p>
      </dgm:t>
    </dgm:pt>
    <dgm:pt modelId="{B7E72DCD-EC47-6642-898B-DAE2822B308A}" type="parTrans" cxnId="{91C8A836-ACFF-4C4A-BE7A-760A4F0D343C}">
      <dgm:prSet/>
      <dgm:spPr/>
      <dgm:t>
        <a:bodyPr/>
        <a:lstStyle/>
        <a:p>
          <a:endParaRPr lang="en-GB" sz="2000"/>
        </a:p>
      </dgm:t>
    </dgm:pt>
    <dgm:pt modelId="{D15185F9-3F42-0F45-857B-DAAFDE84F236}" type="sibTrans" cxnId="{91C8A836-ACFF-4C4A-BE7A-760A4F0D343C}">
      <dgm:prSet/>
      <dgm:spPr/>
      <dgm:t>
        <a:bodyPr/>
        <a:lstStyle/>
        <a:p>
          <a:endParaRPr lang="en-GB" sz="2000"/>
        </a:p>
      </dgm:t>
    </dgm:pt>
    <dgm:pt modelId="{A36354B2-CCAE-F04A-AAA1-7F087543AFC9}">
      <dgm:prSet custT="1"/>
      <dgm:spPr/>
      <dgm:t>
        <a:bodyPr/>
        <a:lstStyle/>
        <a:p>
          <a:r>
            <a:rPr lang="en-IN" sz="2000" kern="1200" dirty="0" err="1">
              <a:latin typeface="+mn-lt"/>
            </a:rPr>
            <a:t>GrantWell</a:t>
          </a:r>
          <a:r>
            <a:rPr lang="en-IN" sz="2000" kern="1200" dirty="0">
              <a:latin typeface="+mn-lt"/>
            </a:rPr>
            <a:t>: Simplifying Federal Grant Application Processes with AI </a:t>
          </a:r>
          <a:endParaRPr lang="en-GB" sz="20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+mn-lt"/>
            <a:ea typeface="+mn-ea"/>
            <a:cs typeface="+mn-cs"/>
          </a:endParaRPr>
        </a:p>
      </dgm:t>
    </dgm:pt>
    <dgm:pt modelId="{82A872C5-2B26-F44E-87BA-C8FDB1249AFD}" type="parTrans" cxnId="{EF32CF24-232B-1A4A-BAB9-E74C80E46793}">
      <dgm:prSet/>
      <dgm:spPr/>
      <dgm:t>
        <a:bodyPr/>
        <a:lstStyle/>
        <a:p>
          <a:endParaRPr lang="en-GB" sz="2000"/>
        </a:p>
      </dgm:t>
    </dgm:pt>
    <dgm:pt modelId="{7285953E-0F93-3544-82F0-AD551679EE7E}" type="sibTrans" cxnId="{EF32CF24-232B-1A4A-BAB9-E74C80E46793}">
      <dgm:prSet/>
      <dgm:spPr/>
      <dgm:t>
        <a:bodyPr/>
        <a:lstStyle/>
        <a:p>
          <a:endParaRPr lang="en-GB" sz="2000"/>
        </a:p>
      </dgm:t>
    </dgm:pt>
    <dgm:pt modelId="{5F7411AA-BF88-4BD8-AE7B-13544A6FEDF7}" type="pres">
      <dgm:prSet presAssocID="{098DC64B-4E2D-44E2-9DF7-09484415FC99}" presName="vert0" presStyleCnt="0">
        <dgm:presLayoutVars>
          <dgm:dir/>
          <dgm:animOne val="branch"/>
          <dgm:animLvl val="lvl"/>
        </dgm:presLayoutVars>
      </dgm:prSet>
      <dgm:spPr/>
    </dgm:pt>
    <dgm:pt modelId="{6571B674-69EE-409B-914D-7D2EAE1473A3}" type="pres">
      <dgm:prSet presAssocID="{04480786-7A57-42F0-811C-D0F30D93C041}" presName="thickLine" presStyleLbl="alignNode1" presStyleIdx="0" presStyleCnt="11"/>
      <dgm:spPr/>
    </dgm:pt>
    <dgm:pt modelId="{99EF9E29-A0AC-48AA-976A-99EF82281E48}" type="pres">
      <dgm:prSet presAssocID="{04480786-7A57-42F0-811C-D0F30D93C041}" presName="horz1" presStyleCnt="0"/>
      <dgm:spPr/>
    </dgm:pt>
    <dgm:pt modelId="{033876F2-4573-48DE-B38C-14FA55582084}" type="pres">
      <dgm:prSet presAssocID="{04480786-7A57-42F0-811C-D0F30D93C041}" presName="tx1" presStyleLbl="revTx" presStyleIdx="0" presStyleCnt="11"/>
      <dgm:spPr/>
    </dgm:pt>
    <dgm:pt modelId="{45B45622-DFF6-4210-A419-E9AD0E21BB92}" type="pres">
      <dgm:prSet presAssocID="{04480786-7A57-42F0-811C-D0F30D93C041}" presName="vert1" presStyleCnt="0"/>
      <dgm:spPr/>
    </dgm:pt>
    <dgm:pt modelId="{5ADED652-3E0A-4D4C-BCAD-59477DBCEA60}" type="pres">
      <dgm:prSet presAssocID="{EADA10E3-92DD-324D-BA3F-45E775622B9E}" presName="thickLine" presStyleLbl="alignNode1" presStyleIdx="1" presStyleCnt="11"/>
      <dgm:spPr/>
    </dgm:pt>
    <dgm:pt modelId="{C7C62A17-F578-2846-916E-165231B7A2E8}" type="pres">
      <dgm:prSet presAssocID="{EADA10E3-92DD-324D-BA3F-45E775622B9E}" presName="horz1" presStyleCnt="0"/>
      <dgm:spPr/>
    </dgm:pt>
    <dgm:pt modelId="{EE9DE12F-2110-D447-95A9-FB79001D3523}" type="pres">
      <dgm:prSet presAssocID="{EADA10E3-92DD-324D-BA3F-45E775622B9E}" presName="tx1" presStyleLbl="revTx" presStyleIdx="1" presStyleCnt="11"/>
      <dgm:spPr/>
    </dgm:pt>
    <dgm:pt modelId="{315F2DBF-5DCE-144B-BC7D-88B0C80F1DF7}" type="pres">
      <dgm:prSet presAssocID="{EADA10E3-92DD-324D-BA3F-45E775622B9E}" presName="vert1" presStyleCnt="0"/>
      <dgm:spPr/>
    </dgm:pt>
    <dgm:pt modelId="{5EA078E5-D83B-4C7B-9388-D30175397E4B}" type="pres">
      <dgm:prSet presAssocID="{F9389673-3CE4-4756-A454-FD7F094BB1FA}" presName="thickLine" presStyleLbl="alignNode1" presStyleIdx="2" presStyleCnt="11"/>
      <dgm:spPr/>
    </dgm:pt>
    <dgm:pt modelId="{4DFCCA61-88AA-46A2-A7C6-26197BEFF600}" type="pres">
      <dgm:prSet presAssocID="{F9389673-3CE4-4756-A454-FD7F094BB1FA}" presName="horz1" presStyleCnt="0"/>
      <dgm:spPr/>
    </dgm:pt>
    <dgm:pt modelId="{5EFC1A20-8B95-442F-BAFF-F90F8F847D83}" type="pres">
      <dgm:prSet presAssocID="{F9389673-3CE4-4756-A454-FD7F094BB1FA}" presName="tx1" presStyleLbl="revTx" presStyleIdx="2" presStyleCnt="11"/>
      <dgm:spPr/>
    </dgm:pt>
    <dgm:pt modelId="{601AD9F4-D459-461A-B5F9-0A6CDDE2C74B}" type="pres">
      <dgm:prSet presAssocID="{F9389673-3CE4-4756-A454-FD7F094BB1FA}" presName="vert1" presStyleCnt="0"/>
      <dgm:spPr/>
    </dgm:pt>
    <dgm:pt modelId="{7194CEA1-A1A2-3848-86D3-570A91AEF88C}" type="pres">
      <dgm:prSet presAssocID="{895169C1-129B-FC41-A074-BB9DFC67ACC5}" presName="thickLine" presStyleLbl="alignNode1" presStyleIdx="3" presStyleCnt="11"/>
      <dgm:spPr/>
    </dgm:pt>
    <dgm:pt modelId="{4C174DA8-998C-604E-AE8C-B1F14973ABCA}" type="pres">
      <dgm:prSet presAssocID="{895169C1-129B-FC41-A074-BB9DFC67ACC5}" presName="horz1" presStyleCnt="0"/>
      <dgm:spPr/>
    </dgm:pt>
    <dgm:pt modelId="{6443FD6E-4558-A445-9519-B0E9F6C55091}" type="pres">
      <dgm:prSet presAssocID="{895169C1-129B-FC41-A074-BB9DFC67ACC5}" presName="tx1" presStyleLbl="revTx" presStyleIdx="3" presStyleCnt="11"/>
      <dgm:spPr/>
    </dgm:pt>
    <dgm:pt modelId="{EA2D2397-57AA-9444-8507-0F1C44512E5C}" type="pres">
      <dgm:prSet presAssocID="{895169C1-129B-FC41-A074-BB9DFC67ACC5}" presName="vert1" presStyleCnt="0"/>
      <dgm:spPr/>
    </dgm:pt>
    <dgm:pt modelId="{ADBEFBAA-1DC9-475B-9136-FA43407CC1CE}" type="pres">
      <dgm:prSet presAssocID="{0EC34654-142D-432D-8A16-20673E4380BB}" presName="thickLine" presStyleLbl="alignNode1" presStyleIdx="4" presStyleCnt="11"/>
      <dgm:spPr/>
    </dgm:pt>
    <dgm:pt modelId="{E39AE7A1-4983-4CCC-91F6-E7BC1A8EB0B4}" type="pres">
      <dgm:prSet presAssocID="{0EC34654-142D-432D-8A16-20673E4380BB}" presName="horz1" presStyleCnt="0"/>
      <dgm:spPr/>
    </dgm:pt>
    <dgm:pt modelId="{F0D216CE-DBBB-4015-94FA-0F2C9B1358A9}" type="pres">
      <dgm:prSet presAssocID="{0EC34654-142D-432D-8A16-20673E4380BB}" presName="tx1" presStyleLbl="revTx" presStyleIdx="4" presStyleCnt="11"/>
      <dgm:spPr/>
    </dgm:pt>
    <dgm:pt modelId="{F53F621B-A757-47A5-93B1-B8B83F750309}" type="pres">
      <dgm:prSet presAssocID="{0EC34654-142D-432D-8A16-20673E4380BB}" presName="vert1" presStyleCnt="0"/>
      <dgm:spPr/>
    </dgm:pt>
    <dgm:pt modelId="{DA940355-1F91-41FC-AB0C-B939F04CF7DC}" type="pres">
      <dgm:prSet presAssocID="{6FFA146C-84D5-4B6F-825E-B72737013D6D}" presName="thickLine" presStyleLbl="alignNode1" presStyleIdx="5" presStyleCnt="11"/>
      <dgm:spPr/>
    </dgm:pt>
    <dgm:pt modelId="{51FA6B31-984F-40EC-BFF3-68C3A50DB398}" type="pres">
      <dgm:prSet presAssocID="{6FFA146C-84D5-4B6F-825E-B72737013D6D}" presName="horz1" presStyleCnt="0"/>
      <dgm:spPr/>
    </dgm:pt>
    <dgm:pt modelId="{56BB8A6B-4C45-48D7-ACD7-EF00673E2F1F}" type="pres">
      <dgm:prSet presAssocID="{6FFA146C-84D5-4B6F-825E-B72737013D6D}" presName="tx1" presStyleLbl="revTx" presStyleIdx="5" presStyleCnt="11"/>
      <dgm:spPr/>
    </dgm:pt>
    <dgm:pt modelId="{B3B0789F-498D-444E-AA92-D08455D0D716}" type="pres">
      <dgm:prSet presAssocID="{6FFA146C-84D5-4B6F-825E-B72737013D6D}" presName="vert1" presStyleCnt="0"/>
      <dgm:spPr/>
    </dgm:pt>
    <dgm:pt modelId="{DCEBEB47-31FE-4FFE-A2E1-2EE1438E80EF}" type="pres">
      <dgm:prSet presAssocID="{2838D1E6-B33E-4F02-B7FF-46F14BD10A50}" presName="thickLine" presStyleLbl="alignNode1" presStyleIdx="6" presStyleCnt="11"/>
      <dgm:spPr/>
    </dgm:pt>
    <dgm:pt modelId="{77C7FF58-7B4F-446F-A001-761144E9EA50}" type="pres">
      <dgm:prSet presAssocID="{2838D1E6-B33E-4F02-B7FF-46F14BD10A50}" presName="horz1" presStyleCnt="0"/>
      <dgm:spPr/>
    </dgm:pt>
    <dgm:pt modelId="{3F54600F-BE1E-4B91-BE4F-AC824F342AAB}" type="pres">
      <dgm:prSet presAssocID="{2838D1E6-B33E-4F02-B7FF-46F14BD10A50}" presName="tx1" presStyleLbl="revTx" presStyleIdx="6" presStyleCnt="11"/>
      <dgm:spPr/>
    </dgm:pt>
    <dgm:pt modelId="{26DDCF8A-669E-4C2D-8268-883528E96DAE}" type="pres">
      <dgm:prSet presAssocID="{2838D1E6-B33E-4F02-B7FF-46F14BD10A50}" presName="vert1" presStyleCnt="0"/>
      <dgm:spPr/>
    </dgm:pt>
    <dgm:pt modelId="{9A5B567A-CFC9-8046-ACF4-45A974340805}" type="pres">
      <dgm:prSet presAssocID="{619AEFD2-9015-0148-9D91-3898E2F38507}" presName="thickLine" presStyleLbl="alignNode1" presStyleIdx="7" presStyleCnt="11"/>
      <dgm:spPr/>
    </dgm:pt>
    <dgm:pt modelId="{C1EA52AD-5BDE-EB4B-864D-CFE9FEB86029}" type="pres">
      <dgm:prSet presAssocID="{619AEFD2-9015-0148-9D91-3898E2F38507}" presName="horz1" presStyleCnt="0"/>
      <dgm:spPr/>
    </dgm:pt>
    <dgm:pt modelId="{ECB97E99-E159-E34A-9880-D9520EB5C36C}" type="pres">
      <dgm:prSet presAssocID="{619AEFD2-9015-0148-9D91-3898E2F38507}" presName="tx1" presStyleLbl="revTx" presStyleIdx="7" presStyleCnt="11"/>
      <dgm:spPr/>
    </dgm:pt>
    <dgm:pt modelId="{F8244E02-C066-644E-8D4C-03F0597DC0BE}" type="pres">
      <dgm:prSet presAssocID="{619AEFD2-9015-0148-9D91-3898E2F38507}" presName="vert1" presStyleCnt="0"/>
      <dgm:spPr/>
    </dgm:pt>
    <dgm:pt modelId="{E42DEE3B-6577-3B40-B5C2-0AE07D4DC4B9}" type="pres">
      <dgm:prSet presAssocID="{A36354B2-CCAE-F04A-AAA1-7F087543AFC9}" presName="thickLine" presStyleLbl="alignNode1" presStyleIdx="8" presStyleCnt="11"/>
      <dgm:spPr/>
    </dgm:pt>
    <dgm:pt modelId="{738261E0-B5D5-A549-A697-92214585A95D}" type="pres">
      <dgm:prSet presAssocID="{A36354B2-CCAE-F04A-AAA1-7F087543AFC9}" presName="horz1" presStyleCnt="0"/>
      <dgm:spPr/>
    </dgm:pt>
    <dgm:pt modelId="{560A4B9F-D264-1F4A-90B4-779FCF5E0AF7}" type="pres">
      <dgm:prSet presAssocID="{A36354B2-CCAE-F04A-AAA1-7F087543AFC9}" presName="tx1" presStyleLbl="revTx" presStyleIdx="8" presStyleCnt="11"/>
      <dgm:spPr/>
    </dgm:pt>
    <dgm:pt modelId="{0E684262-08E7-D249-BD4F-E8C0F833BD2E}" type="pres">
      <dgm:prSet presAssocID="{A36354B2-CCAE-F04A-AAA1-7F087543AFC9}" presName="vert1" presStyleCnt="0"/>
      <dgm:spPr/>
    </dgm:pt>
    <dgm:pt modelId="{3F1E35BF-8F97-D548-B80A-A7F4A98E267F}" type="pres">
      <dgm:prSet presAssocID="{5CD7CB18-20EC-AA4B-AA5C-B4D5B6913556}" presName="thickLine" presStyleLbl="alignNode1" presStyleIdx="9" presStyleCnt="11"/>
      <dgm:spPr/>
    </dgm:pt>
    <dgm:pt modelId="{1F6F8653-CD0A-BA4C-8596-D23D8D204C23}" type="pres">
      <dgm:prSet presAssocID="{5CD7CB18-20EC-AA4B-AA5C-B4D5B6913556}" presName="horz1" presStyleCnt="0"/>
      <dgm:spPr/>
    </dgm:pt>
    <dgm:pt modelId="{4A3EA04C-AEB2-B541-AC28-C5AAD7F954D2}" type="pres">
      <dgm:prSet presAssocID="{5CD7CB18-20EC-AA4B-AA5C-B4D5B6913556}" presName="tx1" presStyleLbl="revTx" presStyleIdx="9" presStyleCnt="11"/>
      <dgm:spPr/>
    </dgm:pt>
    <dgm:pt modelId="{1B6C88B8-0442-1049-A356-52E64CFF766F}" type="pres">
      <dgm:prSet presAssocID="{5CD7CB18-20EC-AA4B-AA5C-B4D5B6913556}" presName="vert1" presStyleCnt="0"/>
      <dgm:spPr/>
    </dgm:pt>
    <dgm:pt modelId="{07309E4B-D895-4811-8C7D-BBE793C6B3C3}" type="pres">
      <dgm:prSet presAssocID="{9CD8F89A-A6B3-4175-9BCB-FB8D426F9326}" presName="thickLine" presStyleLbl="alignNode1" presStyleIdx="10" presStyleCnt="11"/>
      <dgm:spPr/>
    </dgm:pt>
    <dgm:pt modelId="{93CE2652-4237-4B63-9633-CBC55F81E41B}" type="pres">
      <dgm:prSet presAssocID="{9CD8F89A-A6B3-4175-9BCB-FB8D426F9326}" presName="horz1" presStyleCnt="0"/>
      <dgm:spPr/>
    </dgm:pt>
    <dgm:pt modelId="{71F24777-2AA6-456F-B41E-CE00E6F86F5E}" type="pres">
      <dgm:prSet presAssocID="{9CD8F89A-A6B3-4175-9BCB-FB8D426F9326}" presName="tx1" presStyleLbl="revTx" presStyleIdx="10" presStyleCnt="11"/>
      <dgm:spPr/>
    </dgm:pt>
    <dgm:pt modelId="{F28CEE34-5DFB-4C22-9775-D9D6A4D0B4EA}" type="pres">
      <dgm:prSet presAssocID="{9CD8F89A-A6B3-4175-9BCB-FB8D426F9326}" presName="vert1" presStyleCnt="0"/>
      <dgm:spPr/>
    </dgm:pt>
  </dgm:ptLst>
  <dgm:cxnLst>
    <dgm:cxn modelId="{4D10940A-84FB-6942-8671-6167F2993A1D}" type="presOf" srcId="{895169C1-129B-FC41-A074-BB9DFC67ACC5}" destId="{6443FD6E-4558-A445-9519-B0E9F6C55091}" srcOrd="0" destOrd="0" presId="urn:microsoft.com/office/officeart/2008/layout/LinedList"/>
    <dgm:cxn modelId="{A231580D-C10F-4E8A-B75B-1BD6FDD2BD18}" srcId="{098DC64B-4E2D-44E2-9DF7-09484415FC99}" destId="{04480786-7A57-42F0-811C-D0F30D93C041}" srcOrd="0" destOrd="0" parTransId="{4EEEDFA1-58BB-4C7E-8289-81BA44E808CB}" sibTransId="{D2978AD3-37C2-403B-B3A1-A78E47E52F46}"/>
    <dgm:cxn modelId="{09978411-B32F-DE4A-883C-5A577402CD89}" type="presOf" srcId="{5CD7CB18-20EC-AA4B-AA5C-B4D5B6913556}" destId="{4A3EA04C-AEB2-B541-AC28-C5AAD7F954D2}" srcOrd="0" destOrd="0" presId="urn:microsoft.com/office/officeart/2008/layout/LinedList"/>
    <dgm:cxn modelId="{0C45601D-5CD2-4AD5-8091-AB3A29CBF03B}" type="presOf" srcId="{0EC34654-142D-432D-8A16-20673E4380BB}" destId="{F0D216CE-DBBB-4015-94FA-0F2C9B1358A9}" srcOrd="0" destOrd="0" presId="urn:microsoft.com/office/officeart/2008/layout/LinedList"/>
    <dgm:cxn modelId="{41F7BA1E-6FB0-5D48-A6D7-26D895813153}" srcId="{098DC64B-4E2D-44E2-9DF7-09484415FC99}" destId="{5CD7CB18-20EC-AA4B-AA5C-B4D5B6913556}" srcOrd="9" destOrd="0" parTransId="{96C10035-5B07-F144-899C-4B06A31F9BFD}" sibTransId="{91DD7E5E-596E-1D40-B92A-174067F32D6B}"/>
    <dgm:cxn modelId="{510E2924-090E-45F3-B27D-C84FA3912E88}" type="presOf" srcId="{2838D1E6-B33E-4F02-B7FF-46F14BD10A50}" destId="{3F54600F-BE1E-4B91-BE4F-AC824F342AAB}" srcOrd="0" destOrd="0" presId="urn:microsoft.com/office/officeart/2008/layout/LinedList"/>
    <dgm:cxn modelId="{EF32CF24-232B-1A4A-BAB9-E74C80E46793}" srcId="{098DC64B-4E2D-44E2-9DF7-09484415FC99}" destId="{A36354B2-CCAE-F04A-AAA1-7F087543AFC9}" srcOrd="8" destOrd="0" parTransId="{82A872C5-2B26-F44E-87BA-C8FDB1249AFD}" sibTransId="{7285953E-0F93-3544-82F0-AD551679EE7E}"/>
    <dgm:cxn modelId="{6762F825-E989-4956-B2F2-2B1CE8766227}" srcId="{098DC64B-4E2D-44E2-9DF7-09484415FC99}" destId="{9CD8F89A-A6B3-4175-9BCB-FB8D426F9326}" srcOrd="10" destOrd="0" parTransId="{4B271377-646B-4282-970C-70F045735C0C}" sibTransId="{8D1D619F-145B-476A-BED9-4B5C9DA18B71}"/>
    <dgm:cxn modelId="{D68DB329-6D97-410A-8F24-65454EB2CC10}" srcId="{098DC64B-4E2D-44E2-9DF7-09484415FC99}" destId="{0EC34654-142D-432D-8A16-20673E4380BB}" srcOrd="4" destOrd="0" parTransId="{FB179382-DB9E-43C0-A562-75C96B8C5A4F}" sibTransId="{EC801795-9464-4AD3-84BB-50EF5AE10191}"/>
    <dgm:cxn modelId="{DE2A392E-17BE-4443-8149-44CB3ADA66B1}" srcId="{098DC64B-4E2D-44E2-9DF7-09484415FC99}" destId="{EADA10E3-92DD-324D-BA3F-45E775622B9E}" srcOrd="1" destOrd="0" parTransId="{B28F6C76-5914-FE40-95A5-8F903D7FCF37}" sibTransId="{1E3252AC-DA2B-304B-A759-FE0CCE079FBE}"/>
    <dgm:cxn modelId="{0B0EF535-D532-4E54-9756-0352918DDB13}" srcId="{098DC64B-4E2D-44E2-9DF7-09484415FC99}" destId="{2838D1E6-B33E-4F02-B7FF-46F14BD10A50}" srcOrd="6" destOrd="0" parTransId="{3415DD49-52F7-4CF3-BE0E-9DADE9230DC6}" sibTransId="{6A4BD05C-08B4-4A10-9FF7-DC427FECE0DD}"/>
    <dgm:cxn modelId="{91C8A836-ACFF-4C4A-BE7A-760A4F0D343C}" srcId="{098DC64B-4E2D-44E2-9DF7-09484415FC99}" destId="{895169C1-129B-FC41-A074-BB9DFC67ACC5}" srcOrd="3" destOrd="0" parTransId="{B7E72DCD-EC47-6642-898B-DAE2822B308A}" sibTransId="{D15185F9-3F42-0F45-857B-DAAFDE84F236}"/>
    <dgm:cxn modelId="{A3BDF95F-4208-4547-9D10-8A21CAA4D71A}" type="presOf" srcId="{EADA10E3-92DD-324D-BA3F-45E775622B9E}" destId="{EE9DE12F-2110-D447-95A9-FB79001D3523}" srcOrd="0" destOrd="0" presId="urn:microsoft.com/office/officeart/2008/layout/LinedList"/>
    <dgm:cxn modelId="{CD7F7E53-A68B-45B1-A791-8A72DDD865BF}" type="presOf" srcId="{9CD8F89A-A6B3-4175-9BCB-FB8D426F9326}" destId="{71F24777-2AA6-456F-B41E-CE00E6F86F5E}" srcOrd="0" destOrd="0" presId="urn:microsoft.com/office/officeart/2008/layout/LinedList"/>
    <dgm:cxn modelId="{B6DACE91-8115-4A61-94DE-228CF8F46329}" type="presOf" srcId="{F9389673-3CE4-4756-A454-FD7F094BB1FA}" destId="{5EFC1A20-8B95-442F-BAFF-F90F8F847D83}" srcOrd="0" destOrd="0" presId="urn:microsoft.com/office/officeart/2008/layout/LinedList"/>
    <dgm:cxn modelId="{ADB7C192-89DC-4A74-9246-E3362F43FD19}" type="presOf" srcId="{04480786-7A57-42F0-811C-D0F30D93C041}" destId="{033876F2-4573-48DE-B38C-14FA55582084}" srcOrd="0" destOrd="0" presId="urn:microsoft.com/office/officeart/2008/layout/LinedList"/>
    <dgm:cxn modelId="{9DD176A3-88BE-DD46-AC81-5611D854A8DD}" srcId="{098DC64B-4E2D-44E2-9DF7-09484415FC99}" destId="{619AEFD2-9015-0148-9D91-3898E2F38507}" srcOrd="7" destOrd="0" parTransId="{11D0C069-8BD2-F44F-8D37-763F539173BC}" sibTransId="{88115BD5-FD5D-1644-AA2C-D1E6C56C835A}"/>
    <dgm:cxn modelId="{1A21BCB6-EF5E-491F-A983-90E9FD537A51}" srcId="{098DC64B-4E2D-44E2-9DF7-09484415FC99}" destId="{F9389673-3CE4-4756-A454-FD7F094BB1FA}" srcOrd="2" destOrd="0" parTransId="{89BC19D7-C4DE-42E0-9082-DB0401E2A15B}" sibTransId="{42520116-B6A3-476D-8AA5-F55B2CF7AC5E}"/>
    <dgm:cxn modelId="{76E272BF-2791-4C2E-AFF1-A3ADDC33DC3D}" type="presOf" srcId="{6FFA146C-84D5-4B6F-825E-B72737013D6D}" destId="{56BB8A6B-4C45-48D7-ACD7-EF00673E2F1F}" srcOrd="0" destOrd="0" presId="urn:microsoft.com/office/officeart/2008/layout/LinedList"/>
    <dgm:cxn modelId="{EBD4CCC5-F445-4509-9E96-CBF1FDAC623A}" type="presOf" srcId="{098DC64B-4E2D-44E2-9DF7-09484415FC99}" destId="{5F7411AA-BF88-4BD8-AE7B-13544A6FEDF7}" srcOrd="0" destOrd="0" presId="urn:microsoft.com/office/officeart/2008/layout/LinedList"/>
    <dgm:cxn modelId="{9FF9D0C8-496C-534B-BFB3-3BB83D8BAFC6}" type="presOf" srcId="{619AEFD2-9015-0148-9D91-3898E2F38507}" destId="{ECB97E99-E159-E34A-9880-D9520EB5C36C}" srcOrd="0" destOrd="0" presId="urn:microsoft.com/office/officeart/2008/layout/LinedList"/>
    <dgm:cxn modelId="{94B7A2DD-3DD2-FB4D-8426-AF5E78388D42}" type="presOf" srcId="{A36354B2-CCAE-F04A-AAA1-7F087543AFC9}" destId="{560A4B9F-D264-1F4A-90B4-779FCF5E0AF7}" srcOrd="0" destOrd="0" presId="urn:microsoft.com/office/officeart/2008/layout/LinedList"/>
    <dgm:cxn modelId="{F1B450EC-F83A-4474-BCAD-55B8F00BF5F2}" srcId="{098DC64B-4E2D-44E2-9DF7-09484415FC99}" destId="{6FFA146C-84D5-4B6F-825E-B72737013D6D}" srcOrd="5" destOrd="0" parTransId="{7844B180-640E-4273-A9E7-2CDD32E05CBA}" sibTransId="{FC4FEF22-6666-44CA-AA83-A9ADFE050682}"/>
    <dgm:cxn modelId="{812015E5-C4F5-4C16-BCF6-4B0C336313E8}" type="presParOf" srcId="{5F7411AA-BF88-4BD8-AE7B-13544A6FEDF7}" destId="{6571B674-69EE-409B-914D-7D2EAE1473A3}" srcOrd="0" destOrd="0" presId="urn:microsoft.com/office/officeart/2008/layout/LinedList"/>
    <dgm:cxn modelId="{3F65A656-63FC-4C98-9B80-CB2ADBB0E78B}" type="presParOf" srcId="{5F7411AA-BF88-4BD8-AE7B-13544A6FEDF7}" destId="{99EF9E29-A0AC-48AA-976A-99EF82281E48}" srcOrd="1" destOrd="0" presId="urn:microsoft.com/office/officeart/2008/layout/LinedList"/>
    <dgm:cxn modelId="{EC2C1A8A-7E95-407B-9577-1377F327AA0F}" type="presParOf" srcId="{99EF9E29-A0AC-48AA-976A-99EF82281E48}" destId="{033876F2-4573-48DE-B38C-14FA55582084}" srcOrd="0" destOrd="0" presId="urn:microsoft.com/office/officeart/2008/layout/LinedList"/>
    <dgm:cxn modelId="{D1587287-2FB5-4176-9221-2F0C676823CF}" type="presParOf" srcId="{99EF9E29-A0AC-48AA-976A-99EF82281E48}" destId="{45B45622-DFF6-4210-A419-E9AD0E21BB92}" srcOrd="1" destOrd="0" presId="urn:microsoft.com/office/officeart/2008/layout/LinedList"/>
    <dgm:cxn modelId="{DAE9AAA1-81E2-754E-B750-2E6C24641D2A}" type="presParOf" srcId="{5F7411AA-BF88-4BD8-AE7B-13544A6FEDF7}" destId="{5ADED652-3E0A-4D4C-BCAD-59477DBCEA60}" srcOrd="2" destOrd="0" presId="urn:microsoft.com/office/officeart/2008/layout/LinedList"/>
    <dgm:cxn modelId="{F0238DA4-902E-4D41-BE7F-6A5A6B3896F6}" type="presParOf" srcId="{5F7411AA-BF88-4BD8-AE7B-13544A6FEDF7}" destId="{C7C62A17-F578-2846-916E-165231B7A2E8}" srcOrd="3" destOrd="0" presId="urn:microsoft.com/office/officeart/2008/layout/LinedList"/>
    <dgm:cxn modelId="{BCC378D7-0EAE-D244-912F-F4D3B7F27260}" type="presParOf" srcId="{C7C62A17-F578-2846-916E-165231B7A2E8}" destId="{EE9DE12F-2110-D447-95A9-FB79001D3523}" srcOrd="0" destOrd="0" presId="urn:microsoft.com/office/officeart/2008/layout/LinedList"/>
    <dgm:cxn modelId="{E576FDAF-A813-354E-8017-1FF662DD4835}" type="presParOf" srcId="{C7C62A17-F578-2846-916E-165231B7A2E8}" destId="{315F2DBF-5DCE-144B-BC7D-88B0C80F1DF7}" srcOrd="1" destOrd="0" presId="urn:microsoft.com/office/officeart/2008/layout/LinedList"/>
    <dgm:cxn modelId="{DF7450E6-C2E1-4E61-8AA0-D615ED1F43B5}" type="presParOf" srcId="{5F7411AA-BF88-4BD8-AE7B-13544A6FEDF7}" destId="{5EA078E5-D83B-4C7B-9388-D30175397E4B}" srcOrd="4" destOrd="0" presId="urn:microsoft.com/office/officeart/2008/layout/LinedList"/>
    <dgm:cxn modelId="{08653764-35DF-4BBF-9ED6-D32C0EAD729E}" type="presParOf" srcId="{5F7411AA-BF88-4BD8-AE7B-13544A6FEDF7}" destId="{4DFCCA61-88AA-46A2-A7C6-26197BEFF600}" srcOrd="5" destOrd="0" presId="urn:microsoft.com/office/officeart/2008/layout/LinedList"/>
    <dgm:cxn modelId="{4FDC48EF-3FB4-441E-9CB9-7AE5FD903C05}" type="presParOf" srcId="{4DFCCA61-88AA-46A2-A7C6-26197BEFF600}" destId="{5EFC1A20-8B95-442F-BAFF-F90F8F847D83}" srcOrd="0" destOrd="0" presId="urn:microsoft.com/office/officeart/2008/layout/LinedList"/>
    <dgm:cxn modelId="{2AD3C70E-40EC-4013-ADF4-5014C09DCA65}" type="presParOf" srcId="{4DFCCA61-88AA-46A2-A7C6-26197BEFF600}" destId="{601AD9F4-D459-461A-B5F9-0A6CDDE2C74B}" srcOrd="1" destOrd="0" presId="urn:microsoft.com/office/officeart/2008/layout/LinedList"/>
    <dgm:cxn modelId="{D855B926-C100-6246-9AF1-78FBBAFD133F}" type="presParOf" srcId="{5F7411AA-BF88-4BD8-AE7B-13544A6FEDF7}" destId="{7194CEA1-A1A2-3848-86D3-570A91AEF88C}" srcOrd="6" destOrd="0" presId="urn:microsoft.com/office/officeart/2008/layout/LinedList"/>
    <dgm:cxn modelId="{B2B74712-D6DC-784D-92A3-DF30BCACA5C4}" type="presParOf" srcId="{5F7411AA-BF88-4BD8-AE7B-13544A6FEDF7}" destId="{4C174DA8-998C-604E-AE8C-B1F14973ABCA}" srcOrd="7" destOrd="0" presId="urn:microsoft.com/office/officeart/2008/layout/LinedList"/>
    <dgm:cxn modelId="{4E469730-A220-7C4F-80BA-FAD3ED3351A6}" type="presParOf" srcId="{4C174DA8-998C-604E-AE8C-B1F14973ABCA}" destId="{6443FD6E-4558-A445-9519-B0E9F6C55091}" srcOrd="0" destOrd="0" presId="urn:microsoft.com/office/officeart/2008/layout/LinedList"/>
    <dgm:cxn modelId="{AB5E64D0-6C59-F548-9916-8E4AA83E95DC}" type="presParOf" srcId="{4C174DA8-998C-604E-AE8C-B1F14973ABCA}" destId="{EA2D2397-57AA-9444-8507-0F1C44512E5C}" srcOrd="1" destOrd="0" presId="urn:microsoft.com/office/officeart/2008/layout/LinedList"/>
    <dgm:cxn modelId="{B85A7E28-5BF5-4CBB-956E-1062FACEABB8}" type="presParOf" srcId="{5F7411AA-BF88-4BD8-AE7B-13544A6FEDF7}" destId="{ADBEFBAA-1DC9-475B-9136-FA43407CC1CE}" srcOrd="8" destOrd="0" presId="urn:microsoft.com/office/officeart/2008/layout/LinedList"/>
    <dgm:cxn modelId="{5BA07BB8-06A1-4FC3-B238-D3235A814BF3}" type="presParOf" srcId="{5F7411AA-BF88-4BD8-AE7B-13544A6FEDF7}" destId="{E39AE7A1-4983-4CCC-91F6-E7BC1A8EB0B4}" srcOrd="9" destOrd="0" presId="urn:microsoft.com/office/officeart/2008/layout/LinedList"/>
    <dgm:cxn modelId="{C7E22CCB-D9C8-41D5-BDBA-8AF044215C3B}" type="presParOf" srcId="{E39AE7A1-4983-4CCC-91F6-E7BC1A8EB0B4}" destId="{F0D216CE-DBBB-4015-94FA-0F2C9B1358A9}" srcOrd="0" destOrd="0" presId="urn:microsoft.com/office/officeart/2008/layout/LinedList"/>
    <dgm:cxn modelId="{557DA44A-A409-4D8E-8415-1E8E89ADBC7D}" type="presParOf" srcId="{E39AE7A1-4983-4CCC-91F6-E7BC1A8EB0B4}" destId="{F53F621B-A757-47A5-93B1-B8B83F750309}" srcOrd="1" destOrd="0" presId="urn:microsoft.com/office/officeart/2008/layout/LinedList"/>
    <dgm:cxn modelId="{D7DCD055-B6F7-4915-9C96-7DFB5C62C6BF}" type="presParOf" srcId="{5F7411AA-BF88-4BD8-AE7B-13544A6FEDF7}" destId="{DA940355-1F91-41FC-AB0C-B939F04CF7DC}" srcOrd="10" destOrd="0" presId="urn:microsoft.com/office/officeart/2008/layout/LinedList"/>
    <dgm:cxn modelId="{E054DFC7-1AB4-4931-8F93-140E6661EC77}" type="presParOf" srcId="{5F7411AA-BF88-4BD8-AE7B-13544A6FEDF7}" destId="{51FA6B31-984F-40EC-BFF3-68C3A50DB398}" srcOrd="11" destOrd="0" presId="urn:microsoft.com/office/officeart/2008/layout/LinedList"/>
    <dgm:cxn modelId="{D14988EB-CDDD-426B-B029-E72627D822F3}" type="presParOf" srcId="{51FA6B31-984F-40EC-BFF3-68C3A50DB398}" destId="{56BB8A6B-4C45-48D7-ACD7-EF00673E2F1F}" srcOrd="0" destOrd="0" presId="urn:microsoft.com/office/officeart/2008/layout/LinedList"/>
    <dgm:cxn modelId="{5F1B84E1-3843-4928-AD96-29A1BEB3EC46}" type="presParOf" srcId="{51FA6B31-984F-40EC-BFF3-68C3A50DB398}" destId="{B3B0789F-498D-444E-AA92-D08455D0D716}" srcOrd="1" destOrd="0" presId="urn:microsoft.com/office/officeart/2008/layout/LinedList"/>
    <dgm:cxn modelId="{D6505501-B8BB-40EC-BD50-9667E3FB7EE0}" type="presParOf" srcId="{5F7411AA-BF88-4BD8-AE7B-13544A6FEDF7}" destId="{DCEBEB47-31FE-4FFE-A2E1-2EE1438E80EF}" srcOrd="12" destOrd="0" presId="urn:microsoft.com/office/officeart/2008/layout/LinedList"/>
    <dgm:cxn modelId="{3915DF5D-6703-4DC3-A66C-7D19B01C7E3E}" type="presParOf" srcId="{5F7411AA-BF88-4BD8-AE7B-13544A6FEDF7}" destId="{77C7FF58-7B4F-446F-A001-761144E9EA50}" srcOrd="13" destOrd="0" presId="urn:microsoft.com/office/officeart/2008/layout/LinedList"/>
    <dgm:cxn modelId="{1C275684-B47B-492B-95E4-16B586E8A133}" type="presParOf" srcId="{77C7FF58-7B4F-446F-A001-761144E9EA50}" destId="{3F54600F-BE1E-4B91-BE4F-AC824F342AAB}" srcOrd="0" destOrd="0" presId="urn:microsoft.com/office/officeart/2008/layout/LinedList"/>
    <dgm:cxn modelId="{4152CB3E-A9EB-4A98-A7E1-78C8D026B187}" type="presParOf" srcId="{77C7FF58-7B4F-446F-A001-761144E9EA50}" destId="{26DDCF8A-669E-4C2D-8268-883528E96DAE}" srcOrd="1" destOrd="0" presId="urn:microsoft.com/office/officeart/2008/layout/LinedList"/>
    <dgm:cxn modelId="{3EA8E70A-23B6-3C4F-96E3-4016ED641140}" type="presParOf" srcId="{5F7411AA-BF88-4BD8-AE7B-13544A6FEDF7}" destId="{9A5B567A-CFC9-8046-ACF4-45A974340805}" srcOrd="14" destOrd="0" presId="urn:microsoft.com/office/officeart/2008/layout/LinedList"/>
    <dgm:cxn modelId="{C0CD68A6-CE46-CB44-B6F3-2B28C8846554}" type="presParOf" srcId="{5F7411AA-BF88-4BD8-AE7B-13544A6FEDF7}" destId="{C1EA52AD-5BDE-EB4B-864D-CFE9FEB86029}" srcOrd="15" destOrd="0" presId="urn:microsoft.com/office/officeart/2008/layout/LinedList"/>
    <dgm:cxn modelId="{A8015124-D2BD-F648-82E9-E491F8B79C27}" type="presParOf" srcId="{C1EA52AD-5BDE-EB4B-864D-CFE9FEB86029}" destId="{ECB97E99-E159-E34A-9880-D9520EB5C36C}" srcOrd="0" destOrd="0" presId="urn:microsoft.com/office/officeart/2008/layout/LinedList"/>
    <dgm:cxn modelId="{22361DEE-B4C4-D84D-AF69-98D718EF7EBE}" type="presParOf" srcId="{C1EA52AD-5BDE-EB4B-864D-CFE9FEB86029}" destId="{F8244E02-C066-644E-8D4C-03F0597DC0BE}" srcOrd="1" destOrd="0" presId="urn:microsoft.com/office/officeart/2008/layout/LinedList"/>
    <dgm:cxn modelId="{7A4FE6C1-1C72-B849-ADA9-42B00A6C3A2F}" type="presParOf" srcId="{5F7411AA-BF88-4BD8-AE7B-13544A6FEDF7}" destId="{E42DEE3B-6577-3B40-B5C2-0AE07D4DC4B9}" srcOrd="16" destOrd="0" presId="urn:microsoft.com/office/officeart/2008/layout/LinedList"/>
    <dgm:cxn modelId="{5E5E14B9-0460-7A4C-815B-97F0126C8FE1}" type="presParOf" srcId="{5F7411AA-BF88-4BD8-AE7B-13544A6FEDF7}" destId="{738261E0-B5D5-A549-A697-92214585A95D}" srcOrd="17" destOrd="0" presId="urn:microsoft.com/office/officeart/2008/layout/LinedList"/>
    <dgm:cxn modelId="{CA1E2546-CB5F-2240-8FC9-D89CCC63814F}" type="presParOf" srcId="{738261E0-B5D5-A549-A697-92214585A95D}" destId="{560A4B9F-D264-1F4A-90B4-779FCF5E0AF7}" srcOrd="0" destOrd="0" presId="urn:microsoft.com/office/officeart/2008/layout/LinedList"/>
    <dgm:cxn modelId="{8802D13E-7206-794A-8529-128ED7B3B4AB}" type="presParOf" srcId="{738261E0-B5D5-A549-A697-92214585A95D}" destId="{0E684262-08E7-D249-BD4F-E8C0F833BD2E}" srcOrd="1" destOrd="0" presId="urn:microsoft.com/office/officeart/2008/layout/LinedList"/>
    <dgm:cxn modelId="{4BC22E48-4A81-E440-93C3-C19DD8349A81}" type="presParOf" srcId="{5F7411AA-BF88-4BD8-AE7B-13544A6FEDF7}" destId="{3F1E35BF-8F97-D548-B80A-A7F4A98E267F}" srcOrd="18" destOrd="0" presId="urn:microsoft.com/office/officeart/2008/layout/LinedList"/>
    <dgm:cxn modelId="{9E490D99-B08A-1340-8332-AAE45AD205DF}" type="presParOf" srcId="{5F7411AA-BF88-4BD8-AE7B-13544A6FEDF7}" destId="{1F6F8653-CD0A-BA4C-8596-D23D8D204C23}" srcOrd="19" destOrd="0" presId="urn:microsoft.com/office/officeart/2008/layout/LinedList"/>
    <dgm:cxn modelId="{D7109122-9944-A447-A6A9-3FE99FABBAB9}" type="presParOf" srcId="{1F6F8653-CD0A-BA4C-8596-D23D8D204C23}" destId="{4A3EA04C-AEB2-B541-AC28-C5AAD7F954D2}" srcOrd="0" destOrd="0" presId="urn:microsoft.com/office/officeart/2008/layout/LinedList"/>
    <dgm:cxn modelId="{C3EA8AD6-A986-884B-8895-8438C525A7FA}" type="presParOf" srcId="{1F6F8653-CD0A-BA4C-8596-D23D8D204C23}" destId="{1B6C88B8-0442-1049-A356-52E64CFF766F}" srcOrd="1" destOrd="0" presId="urn:microsoft.com/office/officeart/2008/layout/LinedList"/>
    <dgm:cxn modelId="{39B95567-6439-4115-B1B1-A80FAE3707B2}" type="presParOf" srcId="{5F7411AA-BF88-4BD8-AE7B-13544A6FEDF7}" destId="{07309E4B-D895-4811-8C7D-BBE793C6B3C3}" srcOrd="20" destOrd="0" presId="urn:microsoft.com/office/officeart/2008/layout/LinedList"/>
    <dgm:cxn modelId="{EA6F02F8-5BD1-4C8F-BB86-FFE9C2D7DEE7}" type="presParOf" srcId="{5F7411AA-BF88-4BD8-AE7B-13544A6FEDF7}" destId="{93CE2652-4237-4B63-9633-CBC55F81E41B}" srcOrd="21" destOrd="0" presId="urn:microsoft.com/office/officeart/2008/layout/LinedList"/>
    <dgm:cxn modelId="{082ACC9F-E758-4F4E-9740-4A1095AA2F35}" type="presParOf" srcId="{93CE2652-4237-4B63-9633-CBC55F81E41B}" destId="{71F24777-2AA6-456F-B41E-CE00E6F86F5E}" srcOrd="0" destOrd="0" presId="urn:microsoft.com/office/officeart/2008/layout/LinedList"/>
    <dgm:cxn modelId="{05E4AA62-3604-482C-9328-DD40BAFEDE64}" type="presParOf" srcId="{93CE2652-4237-4B63-9633-CBC55F81E41B}" destId="{F28CEE34-5DFB-4C22-9775-D9D6A4D0B4EA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1E43AC7-173D-456B-AA05-BC2BCC031A9F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D310FC57-F43C-4E2C-9B6D-9DC71D95C4F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 i="0"/>
            <a:t>Leading bi-weekly meetings of the interagency Advisory Council on Federal Funds and Infrastructure</a:t>
          </a:r>
          <a:endParaRPr lang="en-US" sz="1600" b="1"/>
        </a:p>
      </dgm:t>
    </dgm:pt>
    <dgm:pt modelId="{0E5D1605-1CFC-43E5-9494-6059296171F1}" type="parTrans" cxnId="{C6D3471D-2A4F-4F81-B30F-AEA358F90A79}">
      <dgm:prSet/>
      <dgm:spPr/>
      <dgm:t>
        <a:bodyPr/>
        <a:lstStyle/>
        <a:p>
          <a:endParaRPr lang="en-US"/>
        </a:p>
      </dgm:t>
    </dgm:pt>
    <dgm:pt modelId="{BBD1174B-380A-46A3-BB91-AF4D4C8C829A}" type="sibTrans" cxnId="{C6D3471D-2A4F-4F81-B30F-AEA358F90A79}">
      <dgm:prSet/>
      <dgm:spPr/>
      <dgm:t>
        <a:bodyPr/>
        <a:lstStyle/>
        <a:p>
          <a:endParaRPr lang="en-US"/>
        </a:p>
      </dgm:t>
    </dgm:pt>
    <dgm:pt modelId="{645D015E-3619-4B81-950F-1C544B66009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 i="0"/>
            <a:t>Identifying and tracking key federal funding opportunities </a:t>
          </a:r>
          <a:r>
            <a:rPr lang="en-US" sz="1600" b="1"/>
            <a:t>and Massachusetts applications through the State Clearinghouse</a:t>
          </a:r>
          <a:endParaRPr lang="en-US" sz="1600"/>
        </a:p>
      </dgm:t>
    </dgm:pt>
    <dgm:pt modelId="{F3311785-0947-4D54-8B94-64CA474DAD91}" type="parTrans" cxnId="{D1C6AA23-A736-4E26-8749-FDCC29458FB9}">
      <dgm:prSet/>
      <dgm:spPr/>
      <dgm:t>
        <a:bodyPr/>
        <a:lstStyle/>
        <a:p>
          <a:endParaRPr lang="en-US"/>
        </a:p>
      </dgm:t>
    </dgm:pt>
    <dgm:pt modelId="{B48388A5-17F9-4520-9B6E-350D82B6B47E}" type="sibTrans" cxnId="{D1C6AA23-A736-4E26-8749-FDCC29458FB9}">
      <dgm:prSet/>
      <dgm:spPr/>
      <dgm:t>
        <a:bodyPr/>
        <a:lstStyle/>
        <a:p>
          <a:endParaRPr lang="en-US"/>
        </a:p>
      </dgm:t>
    </dgm:pt>
    <dgm:pt modelId="{86F5EE8F-A5A3-4CF1-9857-3D90C2A6977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/>
            <a:t>Implementing the Federal Match legislation (</a:t>
          </a:r>
          <a:r>
            <a:rPr lang="en-US" sz="1600" b="1" i="1"/>
            <a:t>Chapter 214 of the Acts of 2024)</a:t>
          </a:r>
          <a:endParaRPr lang="en-US" sz="1600" b="1"/>
        </a:p>
      </dgm:t>
    </dgm:pt>
    <dgm:pt modelId="{63B5BC1E-BA1A-43C9-AD52-9D99D747CC5F}" type="parTrans" cxnId="{55D36FA9-47B9-4FB7-9D87-815130DE10B4}">
      <dgm:prSet/>
      <dgm:spPr/>
      <dgm:t>
        <a:bodyPr/>
        <a:lstStyle/>
        <a:p>
          <a:endParaRPr lang="en-US"/>
        </a:p>
      </dgm:t>
    </dgm:pt>
    <dgm:pt modelId="{38F48130-8FE7-484D-8F12-95980384125D}" type="sibTrans" cxnId="{55D36FA9-47B9-4FB7-9D87-815130DE10B4}">
      <dgm:prSet/>
      <dgm:spPr/>
      <dgm:t>
        <a:bodyPr/>
        <a:lstStyle/>
        <a:p>
          <a:endParaRPr lang="en-US"/>
        </a:p>
      </dgm:t>
    </dgm:pt>
    <dgm:pt modelId="{7CE94679-2E84-4BAD-AB15-EB3F167E6A4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/>
            <a:t>Leading the Massachusetts Federal Funds Partnership and other meetings to support local governments in their applications for federal funding</a:t>
          </a:r>
        </a:p>
      </dgm:t>
    </dgm:pt>
    <dgm:pt modelId="{700FB485-963E-4EFD-900F-1742F5BCE2D2}" type="parTrans" cxnId="{340918A1-2A97-4CC7-9C47-1772ADE22805}">
      <dgm:prSet/>
      <dgm:spPr/>
      <dgm:t>
        <a:bodyPr/>
        <a:lstStyle/>
        <a:p>
          <a:endParaRPr lang="en-US"/>
        </a:p>
      </dgm:t>
    </dgm:pt>
    <dgm:pt modelId="{39C7C336-98CB-4C86-AC99-9EAF4D4F2ED6}" type="sibTrans" cxnId="{340918A1-2A97-4CC7-9C47-1772ADE22805}">
      <dgm:prSet/>
      <dgm:spPr/>
      <dgm:t>
        <a:bodyPr/>
        <a:lstStyle/>
        <a:p>
          <a:endParaRPr lang="en-US"/>
        </a:p>
      </dgm:t>
    </dgm:pt>
    <dgm:pt modelId="{3CD48AE7-D4F6-4B3D-B68E-EF7140BC6B9E}" type="pres">
      <dgm:prSet presAssocID="{31E43AC7-173D-456B-AA05-BC2BCC031A9F}" presName="root" presStyleCnt="0">
        <dgm:presLayoutVars>
          <dgm:dir/>
          <dgm:resizeHandles val="exact"/>
        </dgm:presLayoutVars>
      </dgm:prSet>
      <dgm:spPr/>
    </dgm:pt>
    <dgm:pt modelId="{0DD012EC-9339-4144-9F8C-DEE7EE016DE0}" type="pres">
      <dgm:prSet presAssocID="{645D015E-3619-4B81-950F-1C544B660094}" presName="compNode" presStyleCnt="0"/>
      <dgm:spPr/>
    </dgm:pt>
    <dgm:pt modelId="{E14C0CFE-CB0A-44B3-89C8-D749A9E1B18C}" type="pres">
      <dgm:prSet presAssocID="{645D015E-3619-4B81-950F-1C544B660094}" presName="bgRect" presStyleLbl="bgShp" presStyleIdx="0" presStyleCnt="4" custLinFactNeighborX="3970" custLinFactNeighborY="-811"/>
      <dgm:spPr/>
    </dgm:pt>
    <dgm:pt modelId="{D88E8319-B6D5-49D3-B540-92B6D9A64BEC}" type="pres">
      <dgm:prSet presAssocID="{645D015E-3619-4B81-950F-1C544B660094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box Checked with solid fill"/>
        </a:ext>
      </dgm:extLst>
    </dgm:pt>
    <dgm:pt modelId="{41321DAC-A7EE-4AE2-9DC7-D1923CA5030E}" type="pres">
      <dgm:prSet presAssocID="{645D015E-3619-4B81-950F-1C544B660094}" presName="spaceRect" presStyleCnt="0"/>
      <dgm:spPr/>
    </dgm:pt>
    <dgm:pt modelId="{3A883FDD-2842-4E49-87E1-009417EEDE74}" type="pres">
      <dgm:prSet presAssocID="{645D015E-3619-4B81-950F-1C544B660094}" presName="parTx" presStyleLbl="revTx" presStyleIdx="0" presStyleCnt="4">
        <dgm:presLayoutVars>
          <dgm:chMax val="0"/>
          <dgm:chPref val="0"/>
        </dgm:presLayoutVars>
      </dgm:prSet>
      <dgm:spPr/>
    </dgm:pt>
    <dgm:pt modelId="{92DE347A-F440-4EA0-A19A-15ED32058C42}" type="pres">
      <dgm:prSet presAssocID="{B48388A5-17F9-4520-9B6E-350D82B6B47E}" presName="sibTrans" presStyleCnt="0"/>
      <dgm:spPr/>
    </dgm:pt>
    <dgm:pt modelId="{29446BF5-4985-418C-942C-C8627D199049}" type="pres">
      <dgm:prSet presAssocID="{D310FC57-F43C-4E2C-9B6D-9DC71D95C4F8}" presName="compNode" presStyleCnt="0"/>
      <dgm:spPr/>
    </dgm:pt>
    <dgm:pt modelId="{B8DB16D8-4226-454D-9A09-BB040DD2E36C}" type="pres">
      <dgm:prSet presAssocID="{D310FC57-F43C-4E2C-9B6D-9DC71D95C4F8}" presName="bgRect" presStyleLbl="bgShp" presStyleIdx="1" presStyleCnt="4"/>
      <dgm:spPr/>
    </dgm:pt>
    <dgm:pt modelId="{564C5C8F-9437-4747-BE47-8A248FCF0411}" type="pres">
      <dgm:prSet presAssocID="{D310FC57-F43C-4E2C-9B6D-9DC71D95C4F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eeting with solid fill"/>
        </a:ext>
      </dgm:extLst>
    </dgm:pt>
    <dgm:pt modelId="{60D04270-229F-4889-92E8-7F83735A2BF9}" type="pres">
      <dgm:prSet presAssocID="{D310FC57-F43C-4E2C-9B6D-9DC71D95C4F8}" presName="spaceRect" presStyleCnt="0"/>
      <dgm:spPr/>
    </dgm:pt>
    <dgm:pt modelId="{B1CCC648-1946-4024-BC72-12F157BF1C01}" type="pres">
      <dgm:prSet presAssocID="{D310FC57-F43C-4E2C-9B6D-9DC71D95C4F8}" presName="parTx" presStyleLbl="revTx" presStyleIdx="1" presStyleCnt="4">
        <dgm:presLayoutVars>
          <dgm:chMax val="0"/>
          <dgm:chPref val="0"/>
        </dgm:presLayoutVars>
      </dgm:prSet>
      <dgm:spPr/>
    </dgm:pt>
    <dgm:pt modelId="{BD33376C-DA5C-4321-B816-593B71FAA488}" type="pres">
      <dgm:prSet presAssocID="{BBD1174B-380A-46A3-BB91-AF4D4C8C829A}" presName="sibTrans" presStyleCnt="0"/>
      <dgm:spPr/>
    </dgm:pt>
    <dgm:pt modelId="{9A6D2DFC-8CC3-4C6A-A413-0209664C7083}" type="pres">
      <dgm:prSet presAssocID="{7CE94679-2E84-4BAD-AB15-EB3F167E6A46}" presName="compNode" presStyleCnt="0"/>
      <dgm:spPr/>
    </dgm:pt>
    <dgm:pt modelId="{2424DD3C-D8C4-4E3B-93BA-991BC7EAB6F2}" type="pres">
      <dgm:prSet presAssocID="{7CE94679-2E84-4BAD-AB15-EB3F167E6A46}" presName="bgRect" presStyleLbl="bgShp" presStyleIdx="2" presStyleCnt="4"/>
      <dgm:spPr/>
    </dgm:pt>
    <dgm:pt modelId="{ECFEB0C4-30B7-4493-ACBB-424B6B9D5B6B}" type="pres">
      <dgm:prSet presAssocID="{7CE94679-2E84-4BAD-AB15-EB3F167E6A4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choolhouse outline"/>
        </a:ext>
      </dgm:extLst>
    </dgm:pt>
    <dgm:pt modelId="{F5A4BBDE-3BD9-4EDA-83E6-3ABB08F7BAE0}" type="pres">
      <dgm:prSet presAssocID="{7CE94679-2E84-4BAD-AB15-EB3F167E6A46}" presName="spaceRect" presStyleCnt="0"/>
      <dgm:spPr/>
    </dgm:pt>
    <dgm:pt modelId="{A099E753-F35B-4A24-8E1C-78892999158A}" type="pres">
      <dgm:prSet presAssocID="{7CE94679-2E84-4BAD-AB15-EB3F167E6A46}" presName="parTx" presStyleLbl="revTx" presStyleIdx="2" presStyleCnt="4">
        <dgm:presLayoutVars>
          <dgm:chMax val="0"/>
          <dgm:chPref val="0"/>
        </dgm:presLayoutVars>
      </dgm:prSet>
      <dgm:spPr/>
    </dgm:pt>
    <dgm:pt modelId="{4F3A3109-73D7-4A54-B6B0-184DFE516A95}" type="pres">
      <dgm:prSet presAssocID="{39C7C336-98CB-4C86-AC99-9EAF4D4F2ED6}" presName="sibTrans" presStyleCnt="0"/>
      <dgm:spPr/>
    </dgm:pt>
    <dgm:pt modelId="{E4A0CB12-F2B6-4A62-82C8-3506427C9164}" type="pres">
      <dgm:prSet presAssocID="{86F5EE8F-A5A3-4CF1-9857-3D90C2A6977D}" presName="compNode" presStyleCnt="0"/>
      <dgm:spPr/>
    </dgm:pt>
    <dgm:pt modelId="{58117011-8D5D-4747-80CD-8D2788FAFE28}" type="pres">
      <dgm:prSet presAssocID="{86F5EE8F-A5A3-4CF1-9857-3D90C2A6977D}" presName="bgRect" presStyleLbl="bgShp" presStyleIdx="3" presStyleCnt="4"/>
      <dgm:spPr/>
    </dgm:pt>
    <dgm:pt modelId="{1C7B136C-B410-4D35-8B00-A9E44608E48D}" type="pres">
      <dgm:prSet presAssocID="{86F5EE8F-A5A3-4CF1-9857-3D90C2A6977D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Quill outline"/>
        </a:ext>
      </dgm:extLst>
    </dgm:pt>
    <dgm:pt modelId="{A148DB27-A5C7-43D0-8D46-434DE35488A9}" type="pres">
      <dgm:prSet presAssocID="{86F5EE8F-A5A3-4CF1-9857-3D90C2A6977D}" presName="spaceRect" presStyleCnt="0"/>
      <dgm:spPr/>
    </dgm:pt>
    <dgm:pt modelId="{7EC0067D-B60D-46D0-8AC8-C58B64D277FA}" type="pres">
      <dgm:prSet presAssocID="{86F5EE8F-A5A3-4CF1-9857-3D90C2A6977D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C6D3471D-2A4F-4F81-B30F-AEA358F90A79}" srcId="{31E43AC7-173D-456B-AA05-BC2BCC031A9F}" destId="{D310FC57-F43C-4E2C-9B6D-9DC71D95C4F8}" srcOrd="1" destOrd="0" parTransId="{0E5D1605-1CFC-43E5-9494-6059296171F1}" sibTransId="{BBD1174B-380A-46A3-BB91-AF4D4C8C829A}"/>
    <dgm:cxn modelId="{D1C6AA23-A736-4E26-8749-FDCC29458FB9}" srcId="{31E43AC7-173D-456B-AA05-BC2BCC031A9F}" destId="{645D015E-3619-4B81-950F-1C544B660094}" srcOrd="0" destOrd="0" parTransId="{F3311785-0947-4D54-8B94-64CA474DAD91}" sibTransId="{B48388A5-17F9-4520-9B6E-350D82B6B47E}"/>
    <dgm:cxn modelId="{340918A1-2A97-4CC7-9C47-1772ADE22805}" srcId="{31E43AC7-173D-456B-AA05-BC2BCC031A9F}" destId="{7CE94679-2E84-4BAD-AB15-EB3F167E6A46}" srcOrd="2" destOrd="0" parTransId="{700FB485-963E-4EFD-900F-1742F5BCE2D2}" sibTransId="{39C7C336-98CB-4C86-AC99-9EAF4D4F2ED6}"/>
    <dgm:cxn modelId="{55D36FA9-47B9-4FB7-9D87-815130DE10B4}" srcId="{31E43AC7-173D-456B-AA05-BC2BCC031A9F}" destId="{86F5EE8F-A5A3-4CF1-9857-3D90C2A6977D}" srcOrd="3" destOrd="0" parTransId="{63B5BC1E-BA1A-43C9-AD52-9D99D747CC5F}" sibTransId="{38F48130-8FE7-484D-8F12-95980384125D}"/>
    <dgm:cxn modelId="{D6DF42BC-0B6A-415A-BDC0-214F045B98F6}" type="presOf" srcId="{D310FC57-F43C-4E2C-9B6D-9DC71D95C4F8}" destId="{B1CCC648-1946-4024-BC72-12F157BF1C01}" srcOrd="0" destOrd="0" presId="urn:microsoft.com/office/officeart/2018/2/layout/IconVerticalSolidList"/>
    <dgm:cxn modelId="{AF67EFBF-6BFE-4EFE-8380-70A82874A60D}" type="presOf" srcId="{86F5EE8F-A5A3-4CF1-9857-3D90C2A6977D}" destId="{7EC0067D-B60D-46D0-8AC8-C58B64D277FA}" srcOrd="0" destOrd="0" presId="urn:microsoft.com/office/officeart/2018/2/layout/IconVerticalSolidList"/>
    <dgm:cxn modelId="{FC9A30D0-0277-4B30-BF3C-F7D6E0E606DC}" type="presOf" srcId="{7CE94679-2E84-4BAD-AB15-EB3F167E6A46}" destId="{A099E753-F35B-4A24-8E1C-78892999158A}" srcOrd="0" destOrd="0" presId="urn:microsoft.com/office/officeart/2018/2/layout/IconVerticalSolidList"/>
    <dgm:cxn modelId="{36A9EDEC-8BFB-4FEE-B45F-E388B957A32C}" type="presOf" srcId="{31E43AC7-173D-456B-AA05-BC2BCC031A9F}" destId="{3CD48AE7-D4F6-4B3D-B68E-EF7140BC6B9E}" srcOrd="0" destOrd="0" presId="urn:microsoft.com/office/officeart/2018/2/layout/IconVerticalSolidList"/>
    <dgm:cxn modelId="{8844BFFD-83B2-4166-B6F9-BA7BB7E98FDE}" type="presOf" srcId="{645D015E-3619-4B81-950F-1C544B660094}" destId="{3A883FDD-2842-4E49-87E1-009417EEDE74}" srcOrd="0" destOrd="0" presId="urn:microsoft.com/office/officeart/2018/2/layout/IconVerticalSolidList"/>
    <dgm:cxn modelId="{70568680-A80E-48E6-A060-5DD1652937DA}" type="presParOf" srcId="{3CD48AE7-D4F6-4B3D-B68E-EF7140BC6B9E}" destId="{0DD012EC-9339-4144-9F8C-DEE7EE016DE0}" srcOrd="0" destOrd="0" presId="urn:microsoft.com/office/officeart/2018/2/layout/IconVerticalSolidList"/>
    <dgm:cxn modelId="{F19B7555-756D-441D-B1C2-9D35E0AFA59E}" type="presParOf" srcId="{0DD012EC-9339-4144-9F8C-DEE7EE016DE0}" destId="{E14C0CFE-CB0A-44B3-89C8-D749A9E1B18C}" srcOrd="0" destOrd="0" presId="urn:microsoft.com/office/officeart/2018/2/layout/IconVerticalSolidList"/>
    <dgm:cxn modelId="{C5CF8725-7AD5-49DB-8398-E15B46EBA9B4}" type="presParOf" srcId="{0DD012EC-9339-4144-9F8C-DEE7EE016DE0}" destId="{D88E8319-B6D5-49D3-B540-92B6D9A64BEC}" srcOrd="1" destOrd="0" presId="urn:microsoft.com/office/officeart/2018/2/layout/IconVerticalSolidList"/>
    <dgm:cxn modelId="{72384A35-C31A-458E-A781-1964880AD0CD}" type="presParOf" srcId="{0DD012EC-9339-4144-9F8C-DEE7EE016DE0}" destId="{41321DAC-A7EE-4AE2-9DC7-D1923CA5030E}" srcOrd="2" destOrd="0" presId="urn:microsoft.com/office/officeart/2018/2/layout/IconVerticalSolidList"/>
    <dgm:cxn modelId="{09DB93C8-2F49-44B0-B784-394F1B988826}" type="presParOf" srcId="{0DD012EC-9339-4144-9F8C-DEE7EE016DE0}" destId="{3A883FDD-2842-4E49-87E1-009417EEDE74}" srcOrd="3" destOrd="0" presId="urn:microsoft.com/office/officeart/2018/2/layout/IconVerticalSolidList"/>
    <dgm:cxn modelId="{FCA3B1F4-152B-4150-8783-9D0F7E599D22}" type="presParOf" srcId="{3CD48AE7-D4F6-4B3D-B68E-EF7140BC6B9E}" destId="{92DE347A-F440-4EA0-A19A-15ED32058C42}" srcOrd="1" destOrd="0" presId="urn:microsoft.com/office/officeart/2018/2/layout/IconVerticalSolidList"/>
    <dgm:cxn modelId="{F2FAA34D-227A-4BA4-ACC3-8B03188BB10A}" type="presParOf" srcId="{3CD48AE7-D4F6-4B3D-B68E-EF7140BC6B9E}" destId="{29446BF5-4985-418C-942C-C8627D199049}" srcOrd="2" destOrd="0" presId="urn:microsoft.com/office/officeart/2018/2/layout/IconVerticalSolidList"/>
    <dgm:cxn modelId="{8F12B5E2-909C-43E5-BC75-1966BE120741}" type="presParOf" srcId="{29446BF5-4985-418C-942C-C8627D199049}" destId="{B8DB16D8-4226-454D-9A09-BB040DD2E36C}" srcOrd="0" destOrd="0" presId="urn:microsoft.com/office/officeart/2018/2/layout/IconVerticalSolidList"/>
    <dgm:cxn modelId="{765D216D-A876-4673-8477-E0E31112D287}" type="presParOf" srcId="{29446BF5-4985-418C-942C-C8627D199049}" destId="{564C5C8F-9437-4747-BE47-8A248FCF0411}" srcOrd="1" destOrd="0" presId="urn:microsoft.com/office/officeart/2018/2/layout/IconVerticalSolidList"/>
    <dgm:cxn modelId="{5475EF24-B6BA-4D8A-A896-79C2B8F639A8}" type="presParOf" srcId="{29446BF5-4985-418C-942C-C8627D199049}" destId="{60D04270-229F-4889-92E8-7F83735A2BF9}" srcOrd="2" destOrd="0" presId="urn:microsoft.com/office/officeart/2018/2/layout/IconVerticalSolidList"/>
    <dgm:cxn modelId="{AE8781F8-0ECE-47C1-88A2-B13528B7587F}" type="presParOf" srcId="{29446BF5-4985-418C-942C-C8627D199049}" destId="{B1CCC648-1946-4024-BC72-12F157BF1C01}" srcOrd="3" destOrd="0" presId="urn:microsoft.com/office/officeart/2018/2/layout/IconVerticalSolidList"/>
    <dgm:cxn modelId="{6F588869-7D95-4E85-A456-B969E5BDA8ED}" type="presParOf" srcId="{3CD48AE7-D4F6-4B3D-B68E-EF7140BC6B9E}" destId="{BD33376C-DA5C-4321-B816-593B71FAA488}" srcOrd="3" destOrd="0" presId="urn:microsoft.com/office/officeart/2018/2/layout/IconVerticalSolidList"/>
    <dgm:cxn modelId="{4F79792D-4E96-407D-B990-72C4F2D0CA15}" type="presParOf" srcId="{3CD48AE7-D4F6-4B3D-B68E-EF7140BC6B9E}" destId="{9A6D2DFC-8CC3-4C6A-A413-0209664C7083}" srcOrd="4" destOrd="0" presId="urn:microsoft.com/office/officeart/2018/2/layout/IconVerticalSolidList"/>
    <dgm:cxn modelId="{D5FC8A05-7D49-47B0-A9A7-445AE7B3027D}" type="presParOf" srcId="{9A6D2DFC-8CC3-4C6A-A413-0209664C7083}" destId="{2424DD3C-D8C4-4E3B-93BA-991BC7EAB6F2}" srcOrd="0" destOrd="0" presId="urn:microsoft.com/office/officeart/2018/2/layout/IconVerticalSolidList"/>
    <dgm:cxn modelId="{424C05F8-8178-458A-87B6-239410DC0B2F}" type="presParOf" srcId="{9A6D2DFC-8CC3-4C6A-A413-0209664C7083}" destId="{ECFEB0C4-30B7-4493-ACBB-424B6B9D5B6B}" srcOrd="1" destOrd="0" presId="urn:microsoft.com/office/officeart/2018/2/layout/IconVerticalSolidList"/>
    <dgm:cxn modelId="{7E9060A0-B899-4230-8D01-C031D8F9B2D6}" type="presParOf" srcId="{9A6D2DFC-8CC3-4C6A-A413-0209664C7083}" destId="{F5A4BBDE-3BD9-4EDA-83E6-3ABB08F7BAE0}" srcOrd="2" destOrd="0" presId="urn:microsoft.com/office/officeart/2018/2/layout/IconVerticalSolidList"/>
    <dgm:cxn modelId="{E88A379D-D8BD-40A5-9491-DAABF0A5C954}" type="presParOf" srcId="{9A6D2DFC-8CC3-4C6A-A413-0209664C7083}" destId="{A099E753-F35B-4A24-8E1C-78892999158A}" srcOrd="3" destOrd="0" presId="urn:microsoft.com/office/officeart/2018/2/layout/IconVerticalSolidList"/>
    <dgm:cxn modelId="{CE0E94EB-3E22-43C6-86CA-6D8A4FA5AFDF}" type="presParOf" srcId="{3CD48AE7-D4F6-4B3D-B68E-EF7140BC6B9E}" destId="{4F3A3109-73D7-4A54-B6B0-184DFE516A95}" srcOrd="5" destOrd="0" presId="urn:microsoft.com/office/officeart/2018/2/layout/IconVerticalSolidList"/>
    <dgm:cxn modelId="{C0AEA2AA-5B5F-417A-9292-7218A372FE04}" type="presParOf" srcId="{3CD48AE7-D4F6-4B3D-B68E-EF7140BC6B9E}" destId="{E4A0CB12-F2B6-4A62-82C8-3506427C9164}" srcOrd="6" destOrd="0" presId="urn:microsoft.com/office/officeart/2018/2/layout/IconVerticalSolidList"/>
    <dgm:cxn modelId="{1019F0F0-1272-4EF2-A25E-9569C95B866B}" type="presParOf" srcId="{E4A0CB12-F2B6-4A62-82C8-3506427C9164}" destId="{58117011-8D5D-4747-80CD-8D2788FAFE28}" srcOrd="0" destOrd="0" presId="urn:microsoft.com/office/officeart/2018/2/layout/IconVerticalSolidList"/>
    <dgm:cxn modelId="{A0DC90DF-0683-43FD-AEE7-B828CCDBA25C}" type="presParOf" srcId="{E4A0CB12-F2B6-4A62-82C8-3506427C9164}" destId="{1C7B136C-B410-4D35-8B00-A9E44608E48D}" srcOrd="1" destOrd="0" presId="urn:microsoft.com/office/officeart/2018/2/layout/IconVerticalSolidList"/>
    <dgm:cxn modelId="{27E8384C-B892-4043-8198-08AA6369FB58}" type="presParOf" srcId="{E4A0CB12-F2B6-4A62-82C8-3506427C9164}" destId="{A148DB27-A5C7-43D0-8D46-434DE35488A9}" srcOrd="2" destOrd="0" presId="urn:microsoft.com/office/officeart/2018/2/layout/IconVerticalSolidList"/>
    <dgm:cxn modelId="{A5688826-91CE-4EF0-A544-2ED0AF773360}" type="presParOf" srcId="{E4A0CB12-F2B6-4A62-82C8-3506427C9164}" destId="{7EC0067D-B60D-46D0-8AC8-C58B64D277F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AC819C-932E-4409-935E-5E92CA5070E1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99495D1-AB8A-4D04-A483-AAFCBA0EC900}">
      <dgm:prSet phldrT="[Text]"/>
      <dgm:spPr/>
      <dgm:t>
        <a:bodyPr/>
        <a:lstStyle/>
        <a:p>
          <a:r>
            <a:rPr lang="en-US"/>
            <a:t>Low-income Communities</a:t>
          </a:r>
        </a:p>
      </dgm:t>
    </dgm:pt>
    <dgm:pt modelId="{AE9BF71A-4E36-4C40-AB5C-022B4E42E106}" type="parTrans" cxnId="{C5CFC36C-4906-4735-A0BA-EF7A134A3693}">
      <dgm:prSet/>
      <dgm:spPr/>
      <dgm:t>
        <a:bodyPr/>
        <a:lstStyle/>
        <a:p>
          <a:endParaRPr lang="en-US"/>
        </a:p>
      </dgm:t>
    </dgm:pt>
    <dgm:pt modelId="{30F3B786-235C-4AC0-9BBA-F53BEB19C779}" type="sibTrans" cxnId="{C5CFC36C-4906-4735-A0BA-EF7A134A3693}">
      <dgm:prSet/>
      <dgm:spPr/>
      <dgm:t>
        <a:bodyPr/>
        <a:lstStyle/>
        <a:p>
          <a:endParaRPr lang="en-US"/>
        </a:p>
      </dgm:t>
    </dgm:pt>
    <dgm:pt modelId="{A55B1BAD-BE5F-4DEE-9C48-E55535E84930}">
      <dgm:prSet phldrT="[Text]" custT="1"/>
      <dgm:spPr/>
      <dgm:t>
        <a:bodyPr/>
        <a:lstStyle/>
        <a:p>
          <a:r>
            <a:rPr lang="en-US" sz="2400"/>
            <a:t>10-20% bonus</a:t>
          </a:r>
        </a:p>
      </dgm:t>
    </dgm:pt>
    <dgm:pt modelId="{C3D561B0-D131-434D-91C2-CB0E716C55CD}" type="parTrans" cxnId="{9C0BDFE8-A30A-40C3-9C5C-11FAB9E524C4}">
      <dgm:prSet/>
      <dgm:spPr/>
      <dgm:t>
        <a:bodyPr/>
        <a:lstStyle/>
        <a:p>
          <a:endParaRPr lang="en-US"/>
        </a:p>
      </dgm:t>
    </dgm:pt>
    <dgm:pt modelId="{3783AF11-DEF5-4A57-81F3-16A1822F4507}" type="sibTrans" cxnId="{9C0BDFE8-A30A-40C3-9C5C-11FAB9E524C4}">
      <dgm:prSet/>
      <dgm:spPr/>
      <dgm:t>
        <a:bodyPr/>
        <a:lstStyle/>
        <a:p>
          <a:endParaRPr lang="en-US"/>
        </a:p>
      </dgm:t>
    </dgm:pt>
    <dgm:pt modelId="{38D3FA2D-B909-4B75-874A-2436B3581266}">
      <dgm:prSet phldrT="[Text]"/>
      <dgm:spPr/>
      <dgm:t>
        <a:bodyPr/>
        <a:lstStyle/>
        <a:p>
          <a:r>
            <a:rPr lang="en-US"/>
            <a:t>… if project is in a low-income community with extra bonus if residential or econ benefit project</a:t>
          </a:r>
        </a:p>
      </dgm:t>
    </dgm:pt>
    <dgm:pt modelId="{4D0D0D4F-DFA0-46CB-BCBB-84EFA59F0C0F}" type="parTrans" cxnId="{30FCBAB7-18C7-47DA-9A39-40E48A9DEB9F}">
      <dgm:prSet/>
      <dgm:spPr/>
      <dgm:t>
        <a:bodyPr/>
        <a:lstStyle/>
        <a:p>
          <a:endParaRPr lang="en-US"/>
        </a:p>
      </dgm:t>
    </dgm:pt>
    <dgm:pt modelId="{7C91AC58-C6AE-45A9-B5DD-3F3742CE161E}" type="sibTrans" cxnId="{30FCBAB7-18C7-47DA-9A39-40E48A9DEB9F}">
      <dgm:prSet/>
      <dgm:spPr/>
      <dgm:t>
        <a:bodyPr/>
        <a:lstStyle/>
        <a:p>
          <a:endParaRPr lang="en-US"/>
        </a:p>
      </dgm:t>
    </dgm:pt>
    <dgm:pt modelId="{2D0FE0DF-247E-47D3-A6E4-3F67421C2277}">
      <dgm:prSet phldrT="[Text]"/>
      <dgm:spPr/>
      <dgm:t>
        <a:bodyPr/>
        <a:lstStyle/>
        <a:p>
          <a:r>
            <a:rPr lang="en-US"/>
            <a:t>Energy Communities</a:t>
          </a:r>
        </a:p>
      </dgm:t>
    </dgm:pt>
    <dgm:pt modelId="{98457B52-9FF3-4666-8AFF-CC22EADDBB31}" type="parTrans" cxnId="{47F32282-3914-4E80-AE3F-220F5DA9A062}">
      <dgm:prSet/>
      <dgm:spPr/>
      <dgm:t>
        <a:bodyPr/>
        <a:lstStyle/>
        <a:p>
          <a:endParaRPr lang="en-US"/>
        </a:p>
      </dgm:t>
    </dgm:pt>
    <dgm:pt modelId="{DFF1E22A-9A71-4205-8E0C-93CFCFB0B4B8}" type="sibTrans" cxnId="{47F32282-3914-4E80-AE3F-220F5DA9A062}">
      <dgm:prSet/>
      <dgm:spPr/>
      <dgm:t>
        <a:bodyPr/>
        <a:lstStyle/>
        <a:p>
          <a:endParaRPr lang="en-US"/>
        </a:p>
      </dgm:t>
    </dgm:pt>
    <dgm:pt modelId="{F62A0254-1578-4AD0-B15D-652A7D627487}">
      <dgm:prSet phldrT="[Text]" custT="1"/>
      <dgm:spPr/>
      <dgm:t>
        <a:bodyPr/>
        <a:lstStyle/>
        <a:p>
          <a:r>
            <a:rPr lang="en-US" sz="2400"/>
            <a:t>10% bonus</a:t>
          </a:r>
        </a:p>
      </dgm:t>
    </dgm:pt>
    <dgm:pt modelId="{B557C9CA-ECC3-4026-B097-C3E297740DB9}" type="parTrans" cxnId="{9DAD89CB-DEFD-4DCD-A1A2-73E88D6B8A15}">
      <dgm:prSet/>
      <dgm:spPr/>
      <dgm:t>
        <a:bodyPr/>
        <a:lstStyle/>
        <a:p>
          <a:endParaRPr lang="en-US"/>
        </a:p>
      </dgm:t>
    </dgm:pt>
    <dgm:pt modelId="{B582E5D1-6080-4B74-B883-29283C8D2F0B}" type="sibTrans" cxnId="{9DAD89CB-DEFD-4DCD-A1A2-73E88D6B8A15}">
      <dgm:prSet/>
      <dgm:spPr/>
      <dgm:t>
        <a:bodyPr/>
        <a:lstStyle/>
        <a:p>
          <a:endParaRPr lang="en-US"/>
        </a:p>
      </dgm:t>
    </dgm:pt>
    <dgm:pt modelId="{9875D474-5E2A-4359-80F5-8A7DC905583B}">
      <dgm:prSet phldrT="[Text]"/>
      <dgm:spPr/>
      <dgm:t>
        <a:bodyPr/>
        <a:lstStyle/>
        <a:p>
          <a:r>
            <a:rPr lang="en-US"/>
            <a:t>…if project is in historical “energy community” (i.e., closed coal mine, some brownfield sites)</a:t>
          </a:r>
        </a:p>
      </dgm:t>
    </dgm:pt>
    <dgm:pt modelId="{79A95963-76DD-4AA3-B3C4-DA1F03D4E8E3}" type="parTrans" cxnId="{51991E90-5772-4FA5-872C-B5CAECC39A14}">
      <dgm:prSet/>
      <dgm:spPr/>
      <dgm:t>
        <a:bodyPr/>
        <a:lstStyle/>
        <a:p>
          <a:endParaRPr lang="en-US"/>
        </a:p>
      </dgm:t>
    </dgm:pt>
    <dgm:pt modelId="{3834F53B-3709-46C4-947A-2E444704DA52}" type="sibTrans" cxnId="{51991E90-5772-4FA5-872C-B5CAECC39A14}">
      <dgm:prSet/>
      <dgm:spPr/>
      <dgm:t>
        <a:bodyPr/>
        <a:lstStyle/>
        <a:p>
          <a:endParaRPr lang="en-US"/>
        </a:p>
      </dgm:t>
    </dgm:pt>
    <dgm:pt modelId="{08BEB54E-7C0F-498D-B913-4C9640BA6C71}">
      <dgm:prSet phldrT="[Text]"/>
      <dgm:spPr/>
      <dgm:t>
        <a:bodyPr/>
        <a:lstStyle/>
        <a:p>
          <a:r>
            <a:rPr lang="en-US"/>
            <a:t>Prevailing Wage and Apprenticeship**</a:t>
          </a:r>
        </a:p>
      </dgm:t>
    </dgm:pt>
    <dgm:pt modelId="{41B8003C-50EB-481C-9AEA-9D8CC0366AE5}" type="parTrans" cxnId="{66765EB7-0D9C-400E-8E95-AE2549F1A472}">
      <dgm:prSet/>
      <dgm:spPr/>
      <dgm:t>
        <a:bodyPr/>
        <a:lstStyle/>
        <a:p>
          <a:endParaRPr lang="en-US"/>
        </a:p>
      </dgm:t>
    </dgm:pt>
    <dgm:pt modelId="{06C81CCD-512F-434B-AA39-9540BDE6269B}" type="sibTrans" cxnId="{66765EB7-0D9C-400E-8E95-AE2549F1A472}">
      <dgm:prSet/>
      <dgm:spPr/>
      <dgm:t>
        <a:bodyPr/>
        <a:lstStyle/>
        <a:p>
          <a:endParaRPr lang="en-US"/>
        </a:p>
      </dgm:t>
    </dgm:pt>
    <dgm:pt modelId="{9516B312-CCDF-4B00-93AC-865BC3BF202F}">
      <dgm:prSet phldrT="[Text]" custT="1"/>
      <dgm:spPr/>
      <dgm:t>
        <a:bodyPr/>
        <a:lstStyle/>
        <a:p>
          <a:r>
            <a:rPr lang="en-US" sz="2400"/>
            <a:t>5x bonus</a:t>
          </a:r>
        </a:p>
      </dgm:t>
    </dgm:pt>
    <dgm:pt modelId="{2A757487-E5F4-4F08-96F6-29F1FAD7BDFB}" type="parTrans" cxnId="{EE5C32B7-C39B-4112-9A8B-1F66CD270A3B}">
      <dgm:prSet/>
      <dgm:spPr/>
      <dgm:t>
        <a:bodyPr/>
        <a:lstStyle/>
        <a:p>
          <a:endParaRPr lang="en-US"/>
        </a:p>
      </dgm:t>
    </dgm:pt>
    <dgm:pt modelId="{8BF7F262-68A2-43F3-899B-86BCA942BD18}" type="sibTrans" cxnId="{EE5C32B7-C39B-4112-9A8B-1F66CD270A3B}">
      <dgm:prSet/>
      <dgm:spPr/>
      <dgm:t>
        <a:bodyPr/>
        <a:lstStyle/>
        <a:p>
          <a:endParaRPr lang="en-US"/>
        </a:p>
      </dgm:t>
    </dgm:pt>
    <dgm:pt modelId="{7D2C0E65-75DE-4242-9D62-31BB91237777}">
      <dgm:prSet phldrT="[Text]"/>
      <dgm:spPr/>
      <dgm:t>
        <a:bodyPr/>
        <a:lstStyle/>
        <a:p>
          <a:r>
            <a:rPr lang="en-US"/>
            <a:t>…if </a:t>
          </a:r>
          <a:r>
            <a:rPr lang="en-US" err="1"/>
            <a:t>reqs</a:t>
          </a:r>
          <a:r>
            <a:rPr lang="en-US"/>
            <a:t> for prevailing wages and registered apprentices are met</a:t>
          </a:r>
        </a:p>
      </dgm:t>
    </dgm:pt>
    <dgm:pt modelId="{631853B6-5BEF-4F67-AC90-F35A2C607143}" type="parTrans" cxnId="{EA395202-278D-4D38-BDDE-9A60C6D68D71}">
      <dgm:prSet/>
      <dgm:spPr/>
      <dgm:t>
        <a:bodyPr/>
        <a:lstStyle/>
        <a:p>
          <a:endParaRPr lang="en-US"/>
        </a:p>
      </dgm:t>
    </dgm:pt>
    <dgm:pt modelId="{3D76EF8E-F219-46EC-8BC4-827AB83D9EB4}" type="sibTrans" cxnId="{EA395202-278D-4D38-BDDE-9A60C6D68D71}">
      <dgm:prSet/>
      <dgm:spPr/>
      <dgm:t>
        <a:bodyPr/>
        <a:lstStyle/>
        <a:p>
          <a:endParaRPr lang="en-US"/>
        </a:p>
      </dgm:t>
    </dgm:pt>
    <dgm:pt modelId="{65C874C2-E4AE-42C7-9CCC-45B98CD31C6B}">
      <dgm:prSet phldrT="[Text]"/>
      <dgm:spPr/>
      <dgm:t>
        <a:bodyPr/>
        <a:lstStyle/>
        <a:p>
          <a:r>
            <a:rPr lang="en-US"/>
            <a:t>Domestic Content* **</a:t>
          </a:r>
        </a:p>
      </dgm:t>
    </dgm:pt>
    <dgm:pt modelId="{F9ACEEC3-39AF-4CCD-B456-0873BA0F56EF}" type="parTrans" cxnId="{626B71B2-8DE9-42C4-B45B-46A1CCD55E2E}">
      <dgm:prSet/>
      <dgm:spPr/>
      <dgm:t>
        <a:bodyPr/>
        <a:lstStyle/>
        <a:p>
          <a:endParaRPr lang="en-US"/>
        </a:p>
      </dgm:t>
    </dgm:pt>
    <dgm:pt modelId="{3557BE09-06F5-4BB9-A73C-5CB419D6F143}" type="sibTrans" cxnId="{626B71B2-8DE9-42C4-B45B-46A1CCD55E2E}">
      <dgm:prSet/>
      <dgm:spPr/>
      <dgm:t>
        <a:bodyPr/>
        <a:lstStyle/>
        <a:p>
          <a:endParaRPr lang="en-US"/>
        </a:p>
      </dgm:t>
    </dgm:pt>
    <dgm:pt modelId="{BACBBC37-538D-4E62-96CE-411E9E8BE57A}">
      <dgm:prSet phldrT="[Text]"/>
      <dgm:spPr/>
      <dgm:t>
        <a:bodyPr/>
        <a:lstStyle/>
        <a:p>
          <a:r>
            <a:rPr lang="en-US"/>
            <a:t>…if 100% of applicable steel and iron and an applicable share of ‘manufactured products” produced in U.S.</a:t>
          </a:r>
        </a:p>
      </dgm:t>
    </dgm:pt>
    <dgm:pt modelId="{1C15ABB7-0183-4F78-81B0-E76975AF974C}" type="parTrans" cxnId="{DE96D47B-6E56-42BF-8747-77646D1FDA8A}">
      <dgm:prSet/>
      <dgm:spPr/>
      <dgm:t>
        <a:bodyPr/>
        <a:lstStyle/>
        <a:p>
          <a:endParaRPr lang="en-US"/>
        </a:p>
      </dgm:t>
    </dgm:pt>
    <dgm:pt modelId="{B4A53230-B936-41D2-A5A1-8B58B8BB2F32}" type="sibTrans" cxnId="{DE96D47B-6E56-42BF-8747-77646D1FDA8A}">
      <dgm:prSet/>
      <dgm:spPr/>
      <dgm:t>
        <a:bodyPr/>
        <a:lstStyle/>
        <a:p>
          <a:endParaRPr lang="en-US"/>
        </a:p>
      </dgm:t>
    </dgm:pt>
    <dgm:pt modelId="{34411D3F-D89C-4D89-A7EA-824CE926B80B}">
      <dgm:prSet phldrT="[Text]" custT="1"/>
      <dgm:spPr/>
      <dgm:t>
        <a:bodyPr/>
        <a:lstStyle/>
        <a:p>
          <a:r>
            <a:rPr lang="en-US" sz="2400"/>
            <a:t>10% bonus</a:t>
          </a:r>
        </a:p>
      </dgm:t>
    </dgm:pt>
    <dgm:pt modelId="{E73944F4-3988-471E-AAA2-D24C41CD9C81}" type="parTrans" cxnId="{7A5D71E7-B703-425D-A8E2-C680A16AFBCA}">
      <dgm:prSet/>
      <dgm:spPr/>
      <dgm:t>
        <a:bodyPr/>
        <a:lstStyle/>
        <a:p>
          <a:endParaRPr lang="en-US"/>
        </a:p>
      </dgm:t>
    </dgm:pt>
    <dgm:pt modelId="{578FD839-A611-4B51-B822-2BACBAE7B81B}" type="sibTrans" cxnId="{7A5D71E7-B703-425D-A8E2-C680A16AFBCA}">
      <dgm:prSet/>
      <dgm:spPr/>
      <dgm:t>
        <a:bodyPr/>
        <a:lstStyle/>
        <a:p>
          <a:endParaRPr lang="en-US"/>
        </a:p>
      </dgm:t>
    </dgm:pt>
    <dgm:pt modelId="{D363EFFC-0E21-45BB-BDFA-025652EA9AA2}">
      <dgm:prSet phldrT="[Text]" custT="1"/>
      <dgm:spPr/>
      <dgm:t>
        <a:bodyPr/>
        <a:lstStyle/>
        <a:p>
          <a:r>
            <a:rPr lang="en-US" sz="2400"/>
            <a:t>ITC only </a:t>
          </a:r>
        </a:p>
      </dgm:t>
    </dgm:pt>
    <dgm:pt modelId="{6B64DF02-5E0A-4852-8848-7B5861B30FE3}" type="parTrans" cxnId="{3BCBAAE5-74B0-4A3E-BD52-6074358AC6DA}">
      <dgm:prSet/>
      <dgm:spPr/>
      <dgm:t>
        <a:bodyPr/>
        <a:lstStyle/>
        <a:p>
          <a:endParaRPr lang="en-US"/>
        </a:p>
      </dgm:t>
    </dgm:pt>
    <dgm:pt modelId="{18BDEC0E-CC39-483C-84DE-B6CCAC897326}" type="sibTrans" cxnId="{3BCBAAE5-74B0-4A3E-BD52-6074358AC6DA}">
      <dgm:prSet/>
      <dgm:spPr/>
      <dgm:t>
        <a:bodyPr/>
        <a:lstStyle/>
        <a:p>
          <a:endParaRPr lang="en-US"/>
        </a:p>
      </dgm:t>
    </dgm:pt>
    <dgm:pt modelId="{BBD264C5-79FF-4BC3-94FB-B126D3894194}">
      <dgm:prSet phldrT="[Text]" custT="1"/>
      <dgm:spPr/>
      <dgm:t>
        <a:bodyPr/>
        <a:lstStyle/>
        <a:p>
          <a:r>
            <a:rPr lang="en-US" sz="1800"/>
            <a:t>Applies to both ITC tax basis and PTC rate</a:t>
          </a:r>
        </a:p>
      </dgm:t>
    </dgm:pt>
    <dgm:pt modelId="{A973357D-908D-4898-BCC6-1B2D375CC913}" type="parTrans" cxnId="{150E8C39-8D08-4815-8EC4-BDCBDB88A0F1}">
      <dgm:prSet/>
      <dgm:spPr/>
      <dgm:t>
        <a:bodyPr/>
        <a:lstStyle/>
        <a:p>
          <a:endParaRPr lang="en-US"/>
        </a:p>
      </dgm:t>
    </dgm:pt>
    <dgm:pt modelId="{5F531EBD-933B-495E-8BD6-D1E7F5F4C83D}" type="sibTrans" cxnId="{150E8C39-8D08-4815-8EC4-BDCBDB88A0F1}">
      <dgm:prSet/>
      <dgm:spPr/>
      <dgm:t>
        <a:bodyPr/>
        <a:lstStyle/>
        <a:p>
          <a:endParaRPr lang="en-US"/>
        </a:p>
      </dgm:t>
    </dgm:pt>
    <dgm:pt modelId="{2E0BD6D5-FEF1-4A19-964E-0FD95EA2EA41}">
      <dgm:prSet phldrT="[Text]" custT="1"/>
      <dgm:spPr/>
      <dgm:t>
        <a:bodyPr/>
        <a:lstStyle/>
        <a:p>
          <a:r>
            <a:rPr lang="en-US" sz="1800"/>
            <a:t>Applies to both ITC tax basis and PTC rate</a:t>
          </a:r>
        </a:p>
      </dgm:t>
    </dgm:pt>
    <dgm:pt modelId="{B227721B-BF55-42AF-ABA2-7A2580F0EB79}" type="parTrans" cxnId="{FE9BD202-3AA1-440B-8E3F-4B0D2D879150}">
      <dgm:prSet/>
      <dgm:spPr/>
      <dgm:t>
        <a:bodyPr/>
        <a:lstStyle/>
        <a:p>
          <a:endParaRPr lang="en-US"/>
        </a:p>
      </dgm:t>
    </dgm:pt>
    <dgm:pt modelId="{BA32C39A-B710-4095-85AF-A6CF5B79B6FB}" type="sibTrans" cxnId="{FE9BD202-3AA1-440B-8E3F-4B0D2D879150}">
      <dgm:prSet/>
      <dgm:spPr/>
      <dgm:t>
        <a:bodyPr/>
        <a:lstStyle/>
        <a:p>
          <a:endParaRPr lang="en-US"/>
        </a:p>
      </dgm:t>
    </dgm:pt>
    <dgm:pt modelId="{E69C79C2-4D4B-421A-B054-D2204158FDA0}">
      <dgm:prSet phldrT="[Text]" custT="1"/>
      <dgm:spPr/>
      <dgm:t>
        <a:bodyPr/>
        <a:lstStyle/>
        <a:p>
          <a:r>
            <a:rPr lang="en-US" sz="1800"/>
            <a:t>Applies to both ITC tax basis and PTC rate </a:t>
          </a:r>
        </a:p>
      </dgm:t>
    </dgm:pt>
    <dgm:pt modelId="{D0676B79-27C6-440C-AAF0-5EA9B4340B41}" type="parTrans" cxnId="{211097B7-797A-4BE9-A69F-3A38DB27D14C}">
      <dgm:prSet/>
      <dgm:spPr/>
      <dgm:t>
        <a:bodyPr/>
        <a:lstStyle/>
        <a:p>
          <a:endParaRPr lang="en-US"/>
        </a:p>
      </dgm:t>
    </dgm:pt>
    <dgm:pt modelId="{232C0049-3A87-4A98-936A-061BF1EF5429}" type="sibTrans" cxnId="{211097B7-797A-4BE9-A69F-3A38DB27D14C}">
      <dgm:prSet/>
      <dgm:spPr/>
      <dgm:t>
        <a:bodyPr/>
        <a:lstStyle/>
        <a:p>
          <a:endParaRPr lang="en-US"/>
        </a:p>
      </dgm:t>
    </dgm:pt>
    <dgm:pt modelId="{279029A4-2649-491F-A026-0D06054CB4D0}" type="pres">
      <dgm:prSet presAssocID="{10AC819C-932E-4409-935E-5E92CA5070E1}" presName="theList" presStyleCnt="0">
        <dgm:presLayoutVars>
          <dgm:dir/>
          <dgm:animLvl val="lvl"/>
          <dgm:resizeHandles val="exact"/>
        </dgm:presLayoutVars>
      </dgm:prSet>
      <dgm:spPr/>
    </dgm:pt>
    <dgm:pt modelId="{1E9690C7-63FA-4529-BBEE-85FDDE57C89A}" type="pres">
      <dgm:prSet presAssocID="{999495D1-AB8A-4D04-A483-AAFCBA0EC900}" presName="compNode" presStyleCnt="0"/>
      <dgm:spPr/>
    </dgm:pt>
    <dgm:pt modelId="{0F7011D2-A5AF-4794-BD43-A7FCA5BAE9A9}" type="pres">
      <dgm:prSet presAssocID="{999495D1-AB8A-4D04-A483-AAFCBA0EC900}" presName="aNode" presStyleLbl="bgShp" presStyleIdx="0" presStyleCnt="4"/>
      <dgm:spPr/>
    </dgm:pt>
    <dgm:pt modelId="{4D8996C3-1655-46DD-821A-57489178191A}" type="pres">
      <dgm:prSet presAssocID="{999495D1-AB8A-4D04-A483-AAFCBA0EC900}" presName="textNode" presStyleLbl="bgShp" presStyleIdx="0" presStyleCnt="4"/>
      <dgm:spPr/>
    </dgm:pt>
    <dgm:pt modelId="{18C29045-D9E0-4794-B101-370CDBF77B20}" type="pres">
      <dgm:prSet presAssocID="{999495D1-AB8A-4D04-A483-AAFCBA0EC900}" presName="compChildNode" presStyleCnt="0"/>
      <dgm:spPr/>
    </dgm:pt>
    <dgm:pt modelId="{010C1F1A-57D9-460C-9BAB-AA728CBD3C68}" type="pres">
      <dgm:prSet presAssocID="{999495D1-AB8A-4D04-A483-AAFCBA0EC900}" presName="theInnerList" presStyleCnt="0"/>
      <dgm:spPr/>
    </dgm:pt>
    <dgm:pt modelId="{D60B30AA-8DA9-4EC1-A504-63461038DD05}" type="pres">
      <dgm:prSet presAssocID="{A55B1BAD-BE5F-4DEE-9C48-E55535E84930}" presName="childNode" presStyleLbl="node1" presStyleIdx="0" presStyleCnt="12">
        <dgm:presLayoutVars>
          <dgm:bulletEnabled val="1"/>
        </dgm:presLayoutVars>
      </dgm:prSet>
      <dgm:spPr/>
    </dgm:pt>
    <dgm:pt modelId="{95E7ACF7-9C37-4930-B8D2-E0819AB7E12C}" type="pres">
      <dgm:prSet presAssocID="{A55B1BAD-BE5F-4DEE-9C48-E55535E84930}" presName="aSpace2" presStyleCnt="0"/>
      <dgm:spPr/>
    </dgm:pt>
    <dgm:pt modelId="{0E2737C2-F58F-4E12-81B0-5C364DC5D99F}" type="pres">
      <dgm:prSet presAssocID="{38D3FA2D-B909-4B75-874A-2436B3581266}" presName="childNode" presStyleLbl="node1" presStyleIdx="1" presStyleCnt="12">
        <dgm:presLayoutVars>
          <dgm:bulletEnabled val="1"/>
        </dgm:presLayoutVars>
      </dgm:prSet>
      <dgm:spPr/>
    </dgm:pt>
    <dgm:pt modelId="{63EEC92E-5C3B-4D26-A6D6-DAD46C9F9E0E}" type="pres">
      <dgm:prSet presAssocID="{38D3FA2D-B909-4B75-874A-2436B3581266}" presName="aSpace2" presStyleCnt="0"/>
      <dgm:spPr/>
    </dgm:pt>
    <dgm:pt modelId="{D984233B-EA55-4177-AE48-52FFF4092240}" type="pres">
      <dgm:prSet presAssocID="{D363EFFC-0E21-45BB-BDFA-025652EA9AA2}" presName="childNode" presStyleLbl="node1" presStyleIdx="2" presStyleCnt="12">
        <dgm:presLayoutVars>
          <dgm:bulletEnabled val="1"/>
        </dgm:presLayoutVars>
      </dgm:prSet>
      <dgm:spPr/>
    </dgm:pt>
    <dgm:pt modelId="{566311E1-7B95-46AF-A47C-A63F374BE6FE}" type="pres">
      <dgm:prSet presAssocID="{999495D1-AB8A-4D04-A483-AAFCBA0EC900}" presName="aSpace" presStyleCnt="0"/>
      <dgm:spPr/>
    </dgm:pt>
    <dgm:pt modelId="{4ABB2462-1D8F-4DAF-8955-14364A36AB67}" type="pres">
      <dgm:prSet presAssocID="{2D0FE0DF-247E-47D3-A6E4-3F67421C2277}" presName="compNode" presStyleCnt="0"/>
      <dgm:spPr/>
    </dgm:pt>
    <dgm:pt modelId="{1095A64F-8AE9-4193-81AE-C1EF826663D0}" type="pres">
      <dgm:prSet presAssocID="{2D0FE0DF-247E-47D3-A6E4-3F67421C2277}" presName="aNode" presStyleLbl="bgShp" presStyleIdx="1" presStyleCnt="4"/>
      <dgm:spPr/>
    </dgm:pt>
    <dgm:pt modelId="{D98C41DF-CC38-4F98-9F6C-06DBF6AD4C5B}" type="pres">
      <dgm:prSet presAssocID="{2D0FE0DF-247E-47D3-A6E4-3F67421C2277}" presName="textNode" presStyleLbl="bgShp" presStyleIdx="1" presStyleCnt="4"/>
      <dgm:spPr/>
    </dgm:pt>
    <dgm:pt modelId="{CB85468D-253E-4D86-9ED9-ADE181AB31BA}" type="pres">
      <dgm:prSet presAssocID="{2D0FE0DF-247E-47D3-A6E4-3F67421C2277}" presName="compChildNode" presStyleCnt="0"/>
      <dgm:spPr/>
    </dgm:pt>
    <dgm:pt modelId="{44C01B9E-15BF-4BB5-AAC1-D884D31EFBDE}" type="pres">
      <dgm:prSet presAssocID="{2D0FE0DF-247E-47D3-A6E4-3F67421C2277}" presName="theInnerList" presStyleCnt="0"/>
      <dgm:spPr/>
    </dgm:pt>
    <dgm:pt modelId="{BEFB6ABF-F2E5-440F-8E1F-E01E0A414B2C}" type="pres">
      <dgm:prSet presAssocID="{F62A0254-1578-4AD0-B15D-652A7D627487}" presName="childNode" presStyleLbl="node1" presStyleIdx="3" presStyleCnt="12">
        <dgm:presLayoutVars>
          <dgm:bulletEnabled val="1"/>
        </dgm:presLayoutVars>
      </dgm:prSet>
      <dgm:spPr/>
    </dgm:pt>
    <dgm:pt modelId="{DD845F0C-DBE4-4CCA-9DE4-ED79DED533A0}" type="pres">
      <dgm:prSet presAssocID="{F62A0254-1578-4AD0-B15D-652A7D627487}" presName="aSpace2" presStyleCnt="0"/>
      <dgm:spPr/>
    </dgm:pt>
    <dgm:pt modelId="{FF4B2263-CDDA-405F-8CFB-87F487FFF744}" type="pres">
      <dgm:prSet presAssocID="{9875D474-5E2A-4359-80F5-8A7DC905583B}" presName="childNode" presStyleLbl="node1" presStyleIdx="4" presStyleCnt="12">
        <dgm:presLayoutVars>
          <dgm:bulletEnabled val="1"/>
        </dgm:presLayoutVars>
      </dgm:prSet>
      <dgm:spPr/>
    </dgm:pt>
    <dgm:pt modelId="{2C6F978A-3377-409C-843D-E42E0F5CC9ED}" type="pres">
      <dgm:prSet presAssocID="{9875D474-5E2A-4359-80F5-8A7DC905583B}" presName="aSpace2" presStyleCnt="0"/>
      <dgm:spPr/>
    </dgm:pt>
    <dgm:pt modelId="{E23E4B55-80CC-4507-A6DA-A3EE92F71D2B}" type="pres">
      <dgm:prSet presAssocID="{BBD264C5-79FF-4BC3-94FB-B126D3894194}" presName="childNode" presStyleLbl="node1" presStyleIdx="5" presStyleCnt="12">
        <dgm:presLayoutVars>
          <dgm:bulletEnabled val="1"/>
        </dgm:presLayoutVars>
      </dgm:prSet>
      <dgm:spPr/>
    </dgm:pt>
    <dgm:pt modelId="{90875953-DD7F-4627-94EE-B940C7BBFBA6}" type="pres">
      <dgm:prSet presAssocID="{2D0FE0DF-247E-47D3-A6E4-3F67421C2277}" presName="aSpace" presStyleCnt="0"/>
      <dgm:spPr/>
    </dgm:pt>
    <dgm:pt modelId="{CE50AD81-F64D-430A-A5C0-F2C533989C54}" type="pres">
      <dgm:prSet presAssocID="{08BEB54E-7C0F-498D-B913-4C9640BA6C71}" presName="compNode" presStyleCnt="0"/>
      <dgm:spPr/>
    </dgm:pt>
    <dgm:pt modelId="{CA438F45-983A-4572-94FF-A2A8EFD54C3B}" type="pres">
      <dgm:prSet presAssocID="{08BEB54E-7C0F-498D-B913-4C9640BA6C71}" presName="aNode" presStyleLbl="bgShp" presStyleIdx="2" presStyleCnt="4"/>
      <dgm:spPr/>
    </dgm:pt>
    <dgm:pt modelId="{70F9CCC7-7DFB-4950-A9CD-8633B6885754}" type="pres">
      <dgm:prSet presAssocID="{08BEB54E-7C0F-498D-B913-4C9640BA6C71}" presName="textNode" presStyleLbl="bgShp" presStyleIdx="2" presStyleCnt="4"/>
      <dgm:spPr/>
    </dgm:pt>
    <dgm:pt modelId="{23650E3B-9E2A-4B1E-A716-5E98351B0D96}" type="pres">
      <dgm:prSet presAssocID="{08BEB54E-7C0F-498D-B913-4C9640BA6C71}" presName="compChildNode" presStyleCnt="0"/>
      <dgm:spPr/>
    </dgm:pt>
    <dgm:pt modelId="{A05CF6BD-D05A-4534-8701-837595C37E91}" type="pres">
      <dgm:prSet presAssocID="{08BEB54E-7C0F-498D-B913-4C9640BA6C71}" presName="theInnerList" presStyleCnt="0"/>
      <dgm:spPr/>
    </dgm:pt>
    <dgm:pt modelId="{6FA3D22E-DCC4-42D2-B66E-F0FED99AFA68}" type="pres">
      <dgm:prSet presAssocID="{9516B312-CCDF-4B00-93AC-865BC3BF202F}" presName="childNode" presStyleLbl="node1" presStyleIdx="6" presStyleCnt="12">
        <dgm:presLayoutVars>
          <dgm:bulletEnabled val="1"/>
        </dgm:presLayoutVars>
      </dgm:prSet>
      <dgm:spPr/>
    </dgm:pt>
    <dgm:pt modelId="{5A4711AE-7846-4ED4-8EB3-5DB1D42FA112}" type="pres">
      <dgm:prSet presAssocID="{9516B312-CCDF-4B00-93AC-865BC3BF202F}" presName="aSpace2" presStyleCnt="0"/>
      <dgm:spPr/>
    </dgm:pt>
    <dgm:pt modelId="{268D3A7A-F93C-4C57-AF69-B433BE269048}" type="pres">
      <dgm:prSet presAssocID="{7D2C0E65-75DE-4242-9D62-31BB91237777}" presName="childNode" presStyleLbl="node1" presStyleIdx="7" presStyleCnt="12">
        <dgm:presLayoutVars>
          <dgm:bulletEnabled val="1"/>
        </dgm:presLayoutVars>
      </dgm:prSet>
      <dgm:spPr/>
    </dgm:pt>
    <dgm:pt modelId="{72496BD6-1B62-4160-A821-DCEB69A34E68}" type="pres">
      <dgm:prSet presAssocID="{7D2C0E65-75DE-4242-9D62-31BB91237777}" presName="aSpace2" presStyleCnt="0"/>
      <dgm:spPr/>
    </dgm:pt>
    <dgm:pt modelId="{426FAD5B-1944-40CE-8BE6-D33BE0ED480A}" type="pres">
      <dgm:prSet presAssocID="{2E0BD6D5-FEF1-4A19-964E-0FD95EA2EA41}" presName="childNode" presStyleLbl="node1" presStyleIdx="8" presStyleCnt="12">
        <dgm:presLayoutVars>
          <dgm:bulletEnabled val="1"/>
        </dgm:presLayoutVars>
      </dgm:prSet>
      <dgm:spPr/>
    </dgm:pt>
    <dgm:pt modelId="{064EA2B5-71EB-402D-849C-0DB85B76FD0E}" type="pres">
      <dgm:prSet presAssocID="{08BEB54E-7C0F-498D-B913-4C9640BA6C71}" presName="aSpace" presStyleCnt="0"/>
      <dgm:spPr/>
    </dgm:pt>
    <dgm:pt modelId="{F6FEB3CE-84F8-42E5-A9F3-94FE5B993727}" type="pres">
      <dgm:prSet presAssocID="{65C874C2-E4AE-42C7-9CCC-45B98CD31C6B}" presName="compNode" presStyleCnt="0"/>
      <dgm:spPr/>
    </dgm:pt>
    <dgm:pt modelId="{F592FFF9-DBA5-41D3-8C7C-EAE434B0ECE5}" type="pres">
      <dgm:prSet presAssocID="{65C874C2-E4AE-42C7-9CCC-45B98CD31C6B}" presName="aNode" presStyleLbl="bgShp" presStyleIdx="3" presStyleCnt="4"/>
      <dgm:spPr/>
    </dgm:pt>
    <dgm:pt modelId="{91FB0EA6-5A99-44FD-B27B-18AA9ADAAF03}" type="pres">
      <dgm:prSet presAssocID="{65C874C2-E4AE-42C7-9CCC-45B98CD31C6B}" presName="textNode" presStyleLbl="bgShp" presStyleIdx="3" presStyleCnt="4"/>
      <dgm:spPr/>
    </dgm:pt>
    <dgm:pt modelId="{480CDF5D-0487-49FD-A46A-E8F0C7E9EFA8}" type="pres">
      <dgm:prSet presAssocID="{65C874C2-E4AE-42C7-9CCC-45B98CD31C6B}" presName="compChildNode" presStyleCnt="0"/>
      <dgm:spPr/>
    </dgm:pt>
    <dgm:pt modelId="{895205D1-8829-45B5-925E-7E315F9360C9}" type="pres">
      <dgm:prSet presAssocID="{65C874C2-E4AE-42C7-9CCC-45B98CD31C6B}" presName="theInnerList" presStyleCnt="0"/>
      <dgm:spPr/>
    </dgm:pt>
    <dgm:pt modelId="{8EC8B0CB-96DB-4B40-B6E6-EB83F0414DE9}" type="pres">
      <dgm:prSet presAssocID="{34411D3F-D89C-4D89-A7EA-824CE926B80B}" presName="childNode" presStyleLbl="node1" presStyleIdx="9" presStyleCnt="12">
        <dgm:presLayoutVars>
          <dgm:bulletEnabled val="1"/>
        </dgm:presLayoutVars>
      </dgm:prSet>
      <dgm:spPr/>
    </dgm:pt>
    <dgm:pt modelId="{A0440CA1-42F1-46AA-ACE9-EAB69383E164}" type="pres">
      <dgm:prSet presAssocID="{34411D3F-D89C-4D89-A7EA-824CE926B80B}" presName="aSpace2" presStyleCnt="0"/>
      <dgm:spPr/>
    </dgm:pt>
    <dgm:pt modelId="{DB57D0CC-B6A0-4098-9243-E7B618F0F2F1}" type="pres">
      <dgm:prSet presAssocID="{BACBBC37-538D-4E62-96CE-411E9E8BE57A}" presName="childNode" presStyleLbl="node1" presStyleIdx="10" presStyleCnt="12">
        <dgm:presLayoutVars>
          <dgm:bulletEnabled val="1"/>
        </dgm:presLayoutVars>
      </dgm:prSet>
      <dgm:spPr/>
    </dgm:pt>
    <dgm:pt modelId="{99FA9382-AECE-4C4B-88EE-76BA4B820EAA}" type="pres">
      <dgm:prSet presAssocID="{BACBBC37-538D-4E62-96CE-411E9E8BE57A}" presName="aSpace2" presStyleCnt="0"/>
      <dgm:spPr/>
    </dgm:pt>
    <dgm:pt modelId="{A781167B-64A6-4277-88AD-D6A8881C8FA9}" type="pres">
      <dgm:prSet presAssocID="{E69C79C2-4D4B-421A-B054-D2204158FDA0}" presName="childNode" presStyleLbl="node1" presStyleIdx="11" presStyleCnt="12">
        <dgm:presLayoutVars>
          <dgm:bulletEnabled val="1"/>
        </dgm:presLayoutVars>
      </dgm:prSet>
      <dgm:spPr/>
    </dgm:pt>
  </dgm:ptLst>
  <dgm:cxnLst>
    <dgm:cxn modelId="{EA395202-278D-4D38-BDDE-9A60C6D68D71}" srcId="{08BEB54E-7C0F-498D-B913-4C9640BA6C71}" destId="{7D2C0E65-75DE-4242-9D62-31BB91237777}" srcOrd="1" destOrd="0" parTransId="{631853B6-5BEF-4F67-AC90-F35A2C607143}" sibTransId="{3D76EF8E-F219-46EC-8BC4-827AB83D9EB4}"/>
    <dgm:cxn modelId="{FE9BD202-3AA1-440B-8E3F-4B0D2D879150}" srcId="{08BEB54E-7C0F-498D-B913-4C9640BA6C71}" destId="{2E0BD6D5-FEF1-4A19-964E-0FD95EA2EA41}" srcOrd="2" destOrd="0" parTransId="{B227721B-BF55-42AF-ABA2-7A2580F0EB79}" sibTransId="{BA32C39A-B710-4095-85AF-A6CF5B79B6FB}"/>
    <dgm:cxn modelId="{D2813809-21DC-4451-9788-1BB523D993DC}" type="presOf" srcId="{2D0FE0DF-247E-47D3-A6E4-3F67421C2277}" destId="{1095A64F-8AE9-4193-81AE-C1EF826663D0}" srcOrd="0" destOrd="0" presId="urn:microsoft.com/office/officeart/2005/8/layout/lProcess2"/>
    <dgm:cxn modelId="{A166490A-F8AD-4395-856E-964FB57FD9CD}" type="presOf" srcId="{2D0FE0DF-247E-47D3-A6E4-3F67421C2277}" destId="{D98C41DF-CC38-4F98-9F6C-06DBF6AD4C5B}" srcOrd="1" destOrd="0" presId="urn:microsoft.com/office/officeart/2005/8/layout/lProcess2"/>
    <dgm:cxn modelId="{C22F6524-BE9E-4073-9E30-D5140BBF8B24}" type="presOf" srcId="{D363EFFC-0E21-45BB-BDFA-025652EA9AA2}" destId="{D984233B-EA55-4177-AE48-52FFF4092240}" srcOrd="0" destOrd="0" presId="urn:microsoft.com/office/officeart/2005/8/layout/lProcess2"/>
    <dgm:cxn modelId="{63FF2926-2E4D-4448-BCEA-5D985545772E}" type="presOf" srcId="{65C874C2-E4AE-42C7-9CCC-45B98CD31C6B}" destId="{91FB0EA6-5A99-44FD-B27B-18AA9ADAAF03}" srcOrd="1" destOrd="0" presId="urn:microsoft.com/office/officeart/2005/8/layout/lProcess2"/>
    <dgm:cxn modelId="{8FC7AC30-31A9-43F6-976D-A9D53A5F7221}" type="presOf" srcId="{BBD264C5-79FF-4BC3-94FB-B126D3894194}" destId="{E23E4B55-80CC-4507-A6DA-A3EE92F71D2B}" srcOrd="0" destOrd="0" presId="urn:microsoft.com/office/officeart/2005/8/layout/lProcess2"/>
    <dgm:cxn modelId="{AA228137-FA9E-4CDF-BDC1-A67E8D4EF2DF}" type="presOf" srcId="{7D2C0E65-75DE-4242-9D62-31BB91237777}" destId="{268D3A7A-F93C-4C57-AF69-B433BE269048}" srcOrd="0" destOrd="0" presId="urn:microsoft.com/office/officeart/2005/8/layout/lProcess2"/>
    <dgm:cxn modelId="{8B4BBD38-10A8-4F50-BECF-A462B195C60D}" type="presOf" srcId="{BACBBC37-538D-4E62-96CE-411E9E8BE57A}" destId="{DB57D0CC-B6A0-4098-9243-E7B618F0F2F1}" srcOrd="0" destOrd="0" presId="urn:microsoft.com/office/officeart/2005/8/layout/lProcess2"/>
    <dgm:cxn modelId="{150E8C39-8D08-4815-8EC4-BDCBDB88A0F1}" srcId="{2D0FE0DF-247E-47D3-A6E4-3F67421C2277}" destId="{BBD264C5-79FF-4BC3-94FB-B126D3894194}" srcOrd="2" destOrd="0" parTransId="{A973357D-908D-4898-BCC6-1B2D375CC913}" sibTransId="{5F531EBD-933B-495E-8BD6-D1E7F5F4C83D}"/>
    <dgm:cxn modelId="{0CA71B43-0A48-4B49-86DC-55FA2D92D774}" type="presOf" srcId="{08BEB54E-7C0F-498D-B913-4C9640BA6C71}" destId="{70F9CCC7-7DFB-4950-A9CD-8633B6885754}" srcOrd="1" destOrd="0" presId="urn:microsoft.com/office/officeart/2005/8/layout/lProcess2"/>
    <dgm:cxn modelId="{40530A68-D188-46BC-812C-F3D7A710DBCD}" type="presOf" srcId="{999495D1-AB8A-4D04-A483-AAFCBA0EC900}" destId="{0F7011D2-A5AF-4794-BD43-A7FCA5BAE9A9}" srcOrd="0" destOrd="0" presId="urn:microsoft.com/office/officeart/2005/8/layout/lProcess2"/>
    <dgm:cxn modelId="{C5CFC36C-4906-4735-A0BA-EF7A134A3693}" srcId="{10AC819C-932E-4409-935E-5E92CA5070E1}" destId="{999495D1-AB8A-4D04-A483-AAFCBA0EC900}" srcOrd="0" destOrd="0" parTransId="{AE9BF71A-4E36-4C40-AB5C-022B4E42E106}" sibTransId="{30F3B786-235C-4AC0-9BBA-F53BEB19C779}"/>
    <dgm:cxn modelId="{1A3B6053-3A0B-4E8A-B092-D7E9FCBAF8D1}" type="presOf" srcId="{38D3FA2D-B909-4B75-874A-2436B3581266}" destId="{0E2737C2-F58F-4E12-81B0-5C364DC5D99F}" srcOrd="0" destOrd="0" presId="urn:microsoft.com/office/officeart/2005/8/layout/lProcess2"/>
    <dgm:cxn modelId="{6C75BC76-12AC-48C5-8705-C1F8C14A34DF}" type="presOf" srcId="{9875D474-5E2A-4359-80F5-8A7DC905583B}" destId="{FF4B2263-CDDA-405F-8CFB-87F487FFF744}" srcOrd="0" destOrd="0" presId="urn:microsoft.com/office/officeart/2005/8/layout/lProcess2"/>
    <dgm:cxn modelId="{17E91877-3FBB-42B7-A9AB-1BFAB9F73D92}" type="presOf" srcId="{E69C79C2-4D4B-421A-B054-D2204158FDA0}" destId="{A781167B-64A6-4277-88AD-D6A8881C8FA9}" srcOrd="0" destOrd="0" presId="urn:microsoft.com/office/officeart/2005/8/layout/lProcess2"/>
    <dgm:cxn modelId="{DE96D47B-6E56-42BF-8747-77646D1FDA8A}" srcId="{65C874C2-E4AE-42C7-9CCC-45B98CD31C6B}" destId="{BACBBC37-538D-4E62-96CE-411E9E8BE57A}" srcOrd="1" destOrd="0" parTransId="{1C15ABB7-0183-4F78-81B0-E76975AF974C}" sibTransId="{B4A53230-B936-41D2-A5A1-8B58B8BB2F32}"/>
    <dgm:cxn modelId="{47F32282-3914-4E80-AE3F-220F5DA9A062}" srcId="{10AC819C-932E-4409-935E-5E92CA5070E1}" destId="{2D0FE0DF-247E-47D3-A6E4-3F67421C2277}" srcOrd="1" destOrd="0" parTransId="{98457B52-9FF3-4666-8AFF-CC22EADDBB31}" sibTransId="{DFF1E22A-9A71-4205-8E0C-93CFCFB0B4B8}"/>
    <dgm:cxn modelId="{F4199A8F-CEF0-433D-B8AF-7129C497A81E}" type="presOf" srcId="{F62A0254-1578-4AD0-B15D-652A7D627487}" destId="{BEFB6ABF-F2E5-440F-8E1F-E01E0A414B2C}" srcOrd="0" destOrd="0" presId="urn:microsoft.com/office/officeart/2005/8/layout/lProcess2"/>
    <dgm:cxn modelId="{51991E90-5772-4FA5-872C-B5CAECC39A14}" srcId="{2D0FE0DF-247E-47D3-A6E4-3F67421C2277}" destId="{9875D474-5E2A-4359-80F5-8A7DC905583B}" srcOrd="1" destOrd="0" parTransId="{79A95963-76DD-4AA3-B3C4-DA1F03D4E8E3}" sibTransId="{3834F53B-3709-46C4-947A-2E444704DA52}"/>
    <dgm:cxn modelId="{5B0613A6-F998-4224-9EC3-88C294BB3307}" type="presOf" srcId="{34411D3F-D89C-4D89-A7EA-824CE926B80B}" destId="{8EC8B0CB-96DB-4B40-B6E6-EB83F0414DE9}" srcOrd="0" destOrd="0" presId="urn:microsoft.com/office/officeart/2005/8/layout/lProcess2"/>
    <dgm:cxn modelId="{AD1DD4A6-7F2A-4182-9E62-993B8D37B673}" type="presOf" srcId="{2E0BD6D5-FEF1-4A19-964E-0FD95EA2EA41}" destId="{426FAD5B-1944-40CE-8BE6-D33BE0ED480A}" srcOrd="0" destOrd="0" presId="urn:microsoft.com/office/officeart/2005/8/layout/lProcess2"/>
    <dgm:cxn modelId="{9ACA93AB-B816-4C64-A6A7-952701FD8FA7}" type="presOf" srcId="{999495D1-AB8A-4D04-A483-AAFCBA0EC900}" destId="{4D8996C3-1655-46DD-821A-57489178191A}" srcOrd="1" destOrd="0" presId="urn:microsoft.com/office/officeart/2005/8/layout/lProcess2"/>
    <dgm:cxn modelId="{626B71B2-8DE9-42C4-B45B-46A1CCD55E2E}" srcId="{10AC819C-932E-4409-935E-5E92CA5070E1}" destId="{65C874C2-E4AE-42C7-9CCC-45B98CD31C6B}" srcOrd="3" destOrd="0" parTransId="{F9ACEEC3-39AF-4CCD-B456-0873BA0F56EF}" sibTransId="{3557BE09-06F5-4BB9-A73C-5CB419D6F143}"/>
    <dgm:cxn modelId="{EE5C32B7-C39B-4112-9A8B-1F66CD270A3B}" srcId="{08BEB54E-7C0F-498D-B913-4C9640BA6C71}" destId="{9516B312-CCDF-4B00-93AC-865BC3BF202F}" srcOrd="0" destOrd="0" parTransId="{2A757487-E5F4-4F08-96F6-29F1FAD7BDFB}" sibTransId="{8BF7F262-68A2-43F3-899B-86BCA942BD18}"/>
    <dgm:cxn modelId="{66765EB7-0D9C-400E-8E95-AE2549F1A472}" srcId="{10AC819C-932E-4409-935E-5E92CA5070E1}" destId="{08BEB54E-7C0F-498D-B913-4C9640BA6C71}" srcOrd="2" destOrd="0" parTransId="{41B8003C-50EB-481C-9AEA-9D8CC0366AE5}" sibTransId="{06C81CCD-512F-434B-AA39-9540BDE6269B}"/>
    <dgm:cxn modelId="{211097B7-797A-4BE9-A69F-3A38DB27D14C}" srcId="{65C874C2-E4AE-42C7-9CCC-45B98CD31C6B}" destId="{E69C79C2-4D4B-421A-B054-D2204158FDA0}" srcOrd="2" destOrd="0" parTransId="{D0676B79-27C6-440C-AAF0-5EA9B4340B41}" sibTransId="{232C0049-3A87-4A98-936A-061BF1EF5429}"/>
    <dgm:cxn modelId="{30FCBAB7-18C7-47DA-9A39-40E48A9DEB9F}" srcId="{999495D1-AB8A-4D04-A483-AAFCBA0EC900}" destId="{38D3FA2D-B909-4B75-874A-2436B3581266}" srcOrd="1" destOrd="0" parTransId="{4D0D0D4F-DFA0-46CB-BCBB-84EFA59F0C0F}" sibTransId="{7C91AC58-C6AE-45A9-B5DD-3F3742CE161E}"/>
    <dgm:cxn modelId="{D9243DBC-372E-467F-8F96-04999DF705E0}" type="presOf" srcId="{65C874C2-E4AE-42C7-9CCC-45B98CD31C6B}" destId="{F592FFF9-DBA5-41D3-8C7C-EAE434B0ECE5}" srcOrd="0" destOrd="0" presId="urn:microsoft.com/office/officeart/2005/8/layout/lProcess2"/>
    <dgm:cxn modelId="{AFDB3CC0-855E-4AC1-8107-4834792D225B}" type="presOf" srcId="{10AC819C-932E-4409-935E-5E92CA5070E1}" destId="{279029A4-2649-491F-A026-0D06054CB4D0}" srcOrd="0" destOrd="0" presId="urn:microsoft.com/office/officeart/2005/8/layout/lProcess2"/>
    <dgm:cxn modelId="{9DAD89CB-DEFD-4DCD-A1A2-73E88D6B8A15}" srcId="{2D0FE0DF-247E-47D3-A6E4-3F67421C2277}" destId="{F62A0254-1578-4AD0-B15D-652A7D627487}" srcOrd="0" destOrd="0" parTransId="{B557C9CA-ECC3-4026-B097-C3E297740DB9}" sibTransId="{B582E5D1-6080-4B74-B883-29283C8D2F0B}"/>
    <dgm:cxn modelId="{3BCBAAE5-74B0-4A3E-BD52-6074358AC6DA}" srcId="{999495D1-AB8A-4D04-A483-AAFCBA0EC900}" destId="{D363EFFC-0E21-45BB-BDFA-025652EA9AA2}" srcOrd="2" destOrd="0" parTransId="{6B64DF02-5E0A-4852-8848-7B5861B30FE3}" sibTransId="{18BDEC0E-CC39-483C-84DE-B6CCAC897326}"/>
    <dgm:cxn modelId="{7A5D71E7-B703-425D-A8E2-C680A16AFBCA}" srcId="{65C874C2-E4AE-42C7-9CCC-45B98CD31C6B}" destId="{34411D3F-D89C-4D89-A7EA-824CE926B80B}" srcOrd="0" destOrd="0" parTransId="{E73944F4-3988-471E-AAA2-D24C41CD9C81}" sibTransId="{578FD839-A611-4B51-B822-2BACBAE7B81B}"/>
    <dgm:cxn modelId="{9C0BDFE8-A30A-40C3-9C5C-11FAB9E524C4}" srcId="{999495D1-AB8A-4D04-A483-AAFCBA0EC900}" destId="{A55B1BAD-BE5F-4DEE-9C48-E55535E84930}" srcOrd="0" destOrd="0" parTransId="{C3D561B0-D131-434D-91C2-CB0E716C55CD}" sibTransId="{3783AF11-DEF5-4A57-81F3-16A1822F4507}"/>
    <dgm:cxn modelId="{06F582EA-7A57-41EF-A0D5-726EDE410FF0}" type="presOf" srcId="{9516B312-CCDF-4B00-93AC-865BC3BF202F}" destId="{6FA3D22E-DCC4-42D2-B66E-F0FED99AFA68}" srcOrd="0" destOrd="0" presId="urn:microsoft.com/office/officeart/2005/8/layout/lProcess2"/>
    <dgm:cxn modelId="{430F11F2-7247-411A-96B8-83C06A2DE14E}" type="presOf" srcId="{A55B1BAD-BE5F-4DEE-9C48-E55535E84930}" destId="{D60B30AA-8DA9-4EC1-A504-63461038DD05}" srcOrd="0" destOrd="0" presId="urn:microsoft.com/office/officeart/2005/8/layout/lProcess2"/>
    <dgm:cxn modelId="{DE8B42FA-ADE7-4D0A-938E-B8A0AF55CC9C}" type="presOf" srcId="{08BEB54E-7C0F-498D-B913-4C9640BA6C71}" destId="{CA438F45-983A-4572-94FF-A2A8EFD54C3B}" srcOrd="0" destOrd="0" presId="urn:microsoft.com/office/officeart/2005/8/layout/lProcess2"/>
    <dgm:cxn modelId="{BDA6367C-6437-4F2C-A3A5-DEA798B53667}" type="presParOf" srcId="{279029A4-2649-491F-A026-0D06054CB4D0}" destId="{1E9690C7-63FA-4529-BBEE-85FDDE57C89A}" srcOrd="0" destOrd="0" presId="urn:microsoft.com/office/officeart/2005/8/layout/lProcess2"/>
    <dgm:cxn modelId="{E60EB1C5-9FBA-4C0C-9792-EEF1C4FB4469}" type="presParOf" srcId="{1E9690C7-63FA-4529-BBEE-85FDDE57C89A}" destId="{0F7011D2-A5AF-4794-BD43-A7FCA5BAE9A9}" srcOrd="0" destOrd="0" presId="urn:microsoft.com/office/officeart/2005/8/layout/lProcess2"/>
    <dgm:cxn modelId="{A3E96F7B-F2FC-415C-B4F8-E48C5343AB39}" type="presParOf" srcId="{1E9690C7-63FA-4529-BBEE-85FDDE57C89A}" destId="{4D8996C3-1655-46DD-821A-57489178191A}" srcOrd="1" destOrd="0" presId="urn:microsoft.com/office/officeart/2005/8/layout/lProcess2"/>
    <dgm:cxn modelId="{FA70CF5B-290E-4E6F-8079-4AED8FA21732}" type="presParOf" srcId="{1E9690C7-63FA-4529-BBEE-85FDDE57C89A}" destId="{18C29045-D9E0-4794-B101-370CDBF77B20}" srcOrd="2" destOrd="0" presId="urn:microsoft.com/office/officeart/2005/8/layout/lProcess2"/>
    <dgm:cxn modelId="{8FCF9E62-2353-4753-8B26-25AE5F97EE3B}" type="presParOf" srcId="{18C29045-D9E0-4794-B101-370CDBF77B20}" destId="{010C1F1A-57D9-460C-9BAB-AA728CBD3C68}" srcOrd="0" destOrd="0" presId="urn:microsoft.com/office/officeart/2005/8/layout/lProcess2"/>
    <dgm:cxn modelId="{401CD689-44EC-4244-9B7C-99E4C7600E5A}" type="presParOf" srcId="{010C1F1A-57D9-460C-9BAB-AA728CBD3C68}" destId="{D60B30AA-8DA9-4EC1-A504-63461038DD05}" srcOrd="0" destOrd="0" presId="urn:microsoft.com/office/officeart/2005/8/layout/lProcess2"/>
    <dgm:cxn modelId="{060759A8-94B0-4046-BF64-F079694F2442}" type="presParOf" srcId="{010C1F1A-57D9-460C-9BAB-AA728CBD3C68}" destId="{95E7ACF7-9C37-4930-B8D2-E0819AB7E12C}" srcOrd="1" destOrd="0" presId="urn:microsoft.com/office/officeart/2005/8/layout/lProcess2"/>
    <dgm:cxn modelId="{1F514D7C-E767-49ED-A9B3-FE8EF824A882}" type="presParOf" srcId="{010C1F1A-57D9-460C-9BAB-AA728CBD3C68}" destId="{0E2737C2-F58F-4E12-81B0-5C364DC5D99F}" srcOrd="2" destOrd="0" presId="urn:microsoft.com/office/officeart/2005/8/layout/lProcess2"/>
    <dgm:cxn modelId="{EE0A93D3-0BB2-4D6E-BF6D-595C5345D1E2}" type="presParOf" srcId="{010C1F1A-57D9-460C-9BAB-AA728CBD3C68}" destId="{63EEC92E-5C3B-4D26-A6D6-DAD46C9F9E0E}" srcOrd="3" destOrd="0" presId="urn:microsoft.com/office/officeart/2005/8/layout/lProcess2"/>
    <dgm:cxn modelId="{871D2747-8103-49E8-8869-06E8B5C5FA26}" type="presParOf" srcId="{010C1F1A-57D9-460C-9BAB-AA728CBD3C68}" destId="{D984233B-EA55-4177-AE48-52FFF4092240}" srcOrd="4" destOrd="0" presId="urn:microsoft.com/office/officeart/2005/8/layout/lProcess2"/>
    <dgm:cxn modelId="{7DD30325-599A-4603-9BA9-13E287B06BDB}" type="presParOf" srcId="{279029A4-2649-491F-A026-0D06054CB4D0}" destId="{566311E1-7B95-46AF-A47C-A63F374BE6FE}" srcOrd="1" destOrd="0" presId="urn:microsoft.com/office/officeart/2005/8/layout/lProcess2"/>
    <dgm:cxn modelId="{AB15FBD9-5C2B-4A3F-A928-90E2A20E297C}" type="presParOf" srcId="{279029A4-2649-491F-A026-0D06054CB4D0}" destId="{4ABB2462-1D8F-4DAF-8955-14364A36AB67}" srcOrd="2" destOrd="0" presId="urn:microsoft.com/office/officeart/2005/8/layout/lProcess2"/>
    <dgm:cxn modelId="{15C99BA8-448F-410C-99E2-480DC8DD58C5}" type="presParOf" srcId="{4ABB2462-1D8F-4DAF-8955-14364A36AB67}" destId="{1095A64F-8AE9-4193-81AE-C1EF826663D0}" srcOrd="0" destOrd="0" presId="urn:microsoft.com/office/officeart/2005/8/layout/lProcess2"/>
    <dgm:cxn modelId="{9E7CB1C0-0546-4422-AAC5-DC9BE91D5221}" type="presParOf" srcId="{4ABB2462-1D8F-4DAF-8955-14364A36AB67}" destId="{D98C41DF-CC38-4F98-9F6C-06DBF6AD4C5B}" srcOrd="1" destOrd="0" presId="urn:microsoft.com/office/officeart/2005/8/layout/lProcess2"/>
    <dgm:cxn modelId="{6FA74D85-A136-46A9-8B40-D886A03E155F}" type="presParOf" srcId="{4ABB2462-1D8F-4DAF-8955-14364A36AB67}" destId="{CB85468D-253E-4D86-9ED9-ADE181AB31BA}" srcOrd="2" destOrd="0" presId="urn:microsoft.com/office/officeart/2005/8/layout/lProcess2"/>
    <dgm:cxn modelId="{C5067D47-8075-48C6-9DE1-B79C03BCA9EF}" type="presParOf" srcId="{CB85468D-253E-4D86-9ED9-ADE181AB31BA}" destId="{44C01B9E-15BF-4BB5-AAC1-D884D31EFBDE}" srcOrd="0" destOrd="0" presId="urn:microsoft.com/office/officeart/2005/8/layout/lProcess2"/>
    <dgm:cxn modelId="{A6095274-6FB5-4A1B-8E6B-25B190739B09}" type="presParOf" srcId="{44C01B9E-15BF-4BB5-AAC1-D884D31EFBDE}" destId="{BEFB6ABF-F2E5-440F-8E1F-E01E0A414B2C}" srcOrd="0" destOrd="0" presId="urn:microsoft.com/office/officeart/2005/8/layout/lProcess2"/>
    <dgm:cxn modelId="{9512683F-A513-43C4-B972-405100C816E6}" type="presParOf" srcId="{44C01B9E-15BF-4BB5-AAC1-D884D31EFBDE}" destId="{DD845F0C-DBE4-4CCA-9DE4-ED79DED533A0}" srcOrd="1" destOrd="0" presId="urn:microsoft.com/office/officeart/2005/8/layout/lProcess2"/>
    <dgm:cxn modelId="{A90E1CA2-293B-4F43-8DB0-5077EDC3550F}" type="presParOf" srcId="{44C01B9E-15BF-4BB5-AAC1-D884D31EFBDE}" destId="{FF4B2263-CDDA-405F-8CFB-87F487FFF744}" srcOrd="2" destOrd="0" presId="urn:microsoft.com/office/officeart/2005/8/layout/lProcess2"/>
    <dgm:cxn modelId="{8EC1F7F6-181C-4A06-B722-C8AE5B8B3BF4}" type="presParOf" srcId="{44C01B9E-15BF-4BB5-AAC1-D884D31EFBDE}" destId="{2C6F978A-3377-409C-843D-E42E0F5CC9ED}" srcOrd="3" destOrd="0" presId="urn:microsoft.com/office/officeart/2005/8/layout/lProcess2"/>
    <dgm:cxn modelId="{64A0CF8B-E9BB-4E5D-8803-C69E4FBE73ED}" type="presParOf" srcId="{44C01B9E-15BF-4BB5-AAC1-D884D31EFBDE}" destId="{E23E4B55-80CC-4507-A6DA-A3EE92F71D2B}" srcOrd="4" destOrd="0" presId="urn:microsoft.com/office/officeart/2005/8/layout/lProcess2"/>
    <dgm:cxn modelId="{A4A14D7B-B5ED-47A5-8400-E29C3A9A6885}" type="presParOf" srcId="{279029A4-2649-491F-A026-0D06054CB4D0}" destId="{90875953-DD7F-4627-94EE-B940C7BBFBA6}" srcOrd="3" destOrd="0" presId="urn:microsoft.com/office/officeart/2005/8/layout/lProcess2"/>
    <dgm:cxn modelId="{1F5715FC-ABA9-4AB4-99D6-71AC42534364}" type="presParOf" srcId="{279029A4-2649-491F-A026-0D06054CB4D0}" destId="{CE50AD81-F64D-430A-A5C0-F2C533989C54}" srcOrd="4" destOrd="0" presId="urn:microsoft.com/office/officeart/2005/8/layout/lProcess2"/>
    <dgm:cxn modelId="{7CD0A408-84F0-4199-9694-F442376D4983}" type="presParOf" srcId="{CE50AD81-F64D-430A-A5C0-F2C533989C54}" destId="{CA438F45-983A-4572-94FF-A2A8EFD54C3B}" srcOrd="0" destOrd="0" presId="urn:microsoft.com/office/officeart/2005/8/layout/lProcess2"/>
    <dgm:cxn modelId="{6CD9A646-44A7-4E7F-8EF6-7C68CDAA5DA8}" type="presParOf" srcId="{CE50AD81-F64D-430A-A5C0-F2C533989C54}" destId="{70F9CCC7-7DFB-4950-A9CD-8633B6885754}" srcOrd="1" destOrd="0" presId="urn:microsoft.com/office/officeart/2005/8/layout/lProcess2"/>
    <dgm:cxn modelId="{37DB9347-A95B-40E9-9730-5F019FE9BB1C}" type="presParOf" srcId="{CE50AD81-F64D-430A-A5C0-F2C533989C54}" destId="{23650E3B-9E2A-4B1E-A716-5E98351B0D96}" srcOrd="2" destOrd="0" presId="urn:microsoft.com/office/officeart/2005/8/layout/lProcess2"/>
    <dgm:cxn modelId="{8286271C-147B-48CE-BEA7-E76367AD72D1}" type="presParOf" srcId="{23650E3B-9E2A-4B1E-A716-5E98351B0D96}" destId="{A05CF6BD-D05A-4534-8701-837595C37E91}" srcOrd="0" destOrd="0" presId="urn:microsoft.com/office/officeart/2005/8/layout/lProcess2"/>
    <dgm:cxn modelId="{B0C9172F-B6D8-400E-8935-BA5F14CA90F2}" type="presParOf" srcId="{A05CF6BD-D05A-4534-8701-837595C37E91}" destId="{6FA3D22E-DCC4-42D2-B66E-F0FED99AFA68}" srcOrd="0" destOrd="0" presId="urn:microsoft.com/office/officeart/2005/8/layout/lProcess2"/>
    <dgm:cxn modelId="{A321A917-F7B9-45F7-BD00-CEE789510E8F}" type="presParOf" srcId="{A05CF6BD-D05A-4534-8701-837595C37E91}" destId="{5A4711AE-7846-4ED4-8EB3-5DB1D42FA112}" srcOrd="1" destOrd="0" presId="urn:microsoft.com/office/officeart/2005/8/layout/lProcess2"/>
    <dgm:cxn modelId="{8C53B813-AD1C-4631-A05A-32AB043C00DF}" type="presParOf" srcId="{A05CF6BD-D05A-4534-8701-837595C37E91}" destId="{268D3A7A-F93C-4C57-AF69-B433BE269048}" srcOrd="2" destOrd="0" presId="urn:microsoft.com/office/officeart/2005/8/layout/lProcess2"/>
    <dgm:cxn modelId="{524F279B-C680-4EA0-9E16-7BADE58863A4}" type="presParOf" srcId="{A05CF6BD-D05A-4534-8701-837595C37E91}" destId="{72496BD6-1B62-4160-A821-DCEB69A34E68}" srcOrd="3" destOrd="0" presId="urn:microsoft.com/office/officeart/2005/8/layout/lProcess2"/>
    <dgm:cxn modelId="{0F30A526-17E8-41F5-9A4E-BD822D3E2CCC}" type="presParOf" srcId="{A05CF6BD-D05A-4534-8701-837595C37E91}" destId="{426FAD5B-1944-40CE-8BE6-D33BE0ED480A}" srcOrd="4" destOrd="0" presId="urn:microsoft.com/office/officeart/2005/8/layout/lProcess2"/>
    <dgm:cxn modelId="{ABF44FDC-FBE1-49C4-B5E8-BFD41F70A894}" type="presParOf" srcId="{279029A4-2649-491F-A026-0D06054CB4D0}" destId="{064EA2B5-71EB-402D-849C-0DB85B76FD0E}" srcOrd="5" destOrd="0" presId="urn:microsoft.com/office/officeart/2005/8/layout/lProcess2"/>
    <dgm:cxn modelId="{C920094A-F66D-4ED2-91EC-1A28A6D6ABCD}" type="presParOf" srcId="{279029A4-2649-491F-A026-0D06054CB4D0}" destId="{F6FEB3CE-84F8-42E5-A9F3-94FE5B993727}" srcOrd="6" destOrd="0" presId="urn:microsoft.com/office/officeart/2005/8/layout/lProcess2"/>
    <dgm:cxn modelId="{B4531F79-4C16-4A43-9267-27716E890434}" type="presParOf" srcId="{F6FEB3CE-84F8-42E5-A9F3-94FE5B993727}" destId="{F592FFF9-DBA5-41D3-8C7C-EAE434B0ECE5}" srcOrd="0" destOrd="0" presId="urn:microsoft.com/office/officeart/2005/8/layout/lProcess2"/>
    <dgm:cxn modelId="{519A32DC-CE6E-4616-A355-66F0CD2C6494}" type="presParOf" srcId="{F6FEB3CE-84F8-42E5-A9F3-94FE5B993727}" destId="{91FB0EA6-5A99-44FD-B27B-18AA9ADAAF03}" srcOrd="1" destOrd="0" presId="urn:microsoft.com/office/officeart/2005/8/layout/lProcess2"/>
    <dgm:cxn modelId="{2584F6F3-1A7F-462E-B933-2A1A85156B0C}" type="presParOf" srcId="{F6FEB3CE-84F8-42E5-A9F3-94FE5B993727}" destId="{480CDF5D-0487-49FD-A46A-E8F0C7E9EFA8}" srcOrd="2" destOrd="0" presId="urn:microsoft.com/office/officeart/2005/8/layout/lProcess2"/>
    <dgm:cxn modelId="{0BCD7638-C155-4347-B650-CDCCA2757479}" type="presParOf" srcId="{480CDF5D-0487-49FD-A46A-E8F0C7E9EFA8}" destId="{895205D1-8829-45B5-925E-7E315F9360C9}" srcOrd="0" destOrd="0" presId="urn:microsoft.com/office/officeart/2005/8/layout/lProcess2"/>
    <dgm:cxn modelId="{9943BB1F-50A8-4B34-845F-99890F4F351A}" type="presParOf" srcId="{895205D1-8829-45B5-925E-7E315F9360C9}" destId="{8EC8B0CB-96DB-4B40-B6E6-EB83F0414DE9}" srcOrd="0" destOrd="0" presId="urn:microsoft.com/office/officeart/2005/8/layout/lProcess2"/>
    <dgm:cxn modelId="{A0E8B815-EF38-411D-9CDD-D42FF9282B1C}" type="presParOf" srcId="{895205D1-8829-45B5-925E-7E315F9360C9}" destId="{A0440CA1-42F1-46AA-ACE9-EAB69383E164}" srcOrd="1" destOrd="0" presId="urn:microsoft.com/office/officeart/2005/8/layout/lProcess2"/>
    <dgm:cxn modelId="{B21A7F30-AF80-4EE5-92C2-37CB89754688}" type="presParOf" srcId="{895205D1-8829-45B5-925E-7E315F9360C9}" destId="{DB57D0CC-B6A0-4098-9243-E7B618F0F2F1}" srcOrd="2" destOrd="0" presId="urn:microsoft.com/office/officeart/2005/8/layout/lProcess2"/>
    <dgm:cxn modelId="{E7CED96A-5DED-40A4-90A0-4ED3D7E56DFF}" type="presParOf" srcId="{895205D1-8829-45B5-925E-7E315F9360C9}" destId="{99FA9382-AECE-4C4B-88EE-76BA4B820EAA}" srcOrd="3" destOrd="0" presId="urn:microsoft.com/office/officeart/2005/8/layout/lProcess2"/>
    <dgm:cxn modelId="{14C49EF2-9DB5-49BB-B12F-9457A00951DD}" type="presParOf" srcId="{895205D1-8829-45B5-925E-7E315F9360C9}" destId="{A781167B-64A6-4277-88AD-D6A8881C8FA9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A6806F0-62CB-4D06-B009-11D2760EC81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07C2C4-9088-43DD-8B3E-8F43CD3D6F4F}">
      <dgm:prSet phldrT="[Text]"/>
      <dgm:spPr/>
      <dgm:t>
        <a:bodyPr/>
        <a:lstStyle/>
        <a:p>
          <a:r>
            <a:rPr lang="en-US"/>
            <a:t>Looking for grants</a:t>
          </a:r>
        </a:p>
      </dgm:t>
    </dgm:pt>
    <dgm:pt modelId="{824939E1-7C59-43CD-AF4F-C1E02E2982AA}" type="parTrans" cxnId="{5A4C15BC-FE71-4389-9B8B-A8EB924BA6CC}">
      <dgm:prSet/>
      <dgm:spPr/>
      <dgm:t>
        <a:bodyPr/>
        <a:lstStyle/>
        <a:p>
          <a:endParaRPr lang="en-US"/>
        </a:p>
      </dgm:t>
    </dgm:pt>
    <dgm:pt modelId="{63F0DDA2-FC4A-46C3-BDAD-EC153D1DDE20}" type="sibTrans" cxnId="{5A4C15BC-FE71-4389-9B8B-A8EB924BA6CC}">
      <dgm:prSet/>
      <dgm:spPr/>
      <dgm:t>
        <a:bodyPr/>
        <a:lstStyle/>
        <a:p>
          <a:endParaRPr lang="en-US"/>
        </a:p>
      </dgm:t>
    </dgm:pt>
    <dgm:pt modelId="{A73B23C2-D3EE-4D34-B7BB-876EF599AB10}">
      <dgm:prSet phldrT="[Text]"/>
      <dgm:spPr/>
      <dgm:t>
        <a:bodyPr/>
        <a:lstStyle/>
        <a:p>
          <a:r>
            <a:rPr lang="en-US"/>
            <a:t>Developing application</a:t>
          </a:r>
        </a:p>
      </dgm:t>
    </dgm:pt>
    <dgm:pt modelId="{F546AFF4-8D37-4E5F-98BA-8985AF1202BF}" type="parTrans" cxnId="{6D6B7CB8-1ACA-423B-907A-EC76767B6D96}">
      <dgm:prSet/>
      <dgm:spPr/>
      <dgm:t>
        <a:bodyPr/>
        <a:lstStyle/>
        <a:p>
          <a:endParaRPr lang="en-US"/>
        </a:p>
      </dgm:t>
    </dgm:pt>
    <dgm:pt modelId="{B043FAD9-8232-46E8-A1BD-8ABE4E6467C7}" type="sibTrans" cxnId="{6D6B7CB8-1ACA-423B-907A-EC76767B6D96}">
      <dgm:prSet/>
      <dgm:spPr/>
      <dgm:t>
        <a:bodyPr/>
        <a:lstStyle/>
        <a:p>
          <a:endParaRPr lang="en-US"/>
        </a:p>
      </dgm:t>
    </dgm:pt>
    <dgm:pt modelId="{6AEDA217-1E77-43C5-B0AA-80B2682E3A1D}">
      <dgm:prSet phldrT="[Text]"/>
      <dgm:spPr/>
      <dgm:t>
        <a:bodyPr/>
        <a:lstStyle/>
        <a:p>
          <a:r>
            <a:rPr lang="en-US"/>
            <a:t>Advocating for submitted applications</a:t>
          </a:r>
        </a:p>
      </dgm:t>
    </dgm:pt>
    <dgm:pt modelId="{F6F04803-7CEE-4C86-9F5E-4B72A0C95428}" type="parTrans" cxnId="{B92301A1-D195-4B63-A9AE-011E06F41345}">
      <dgm:prSet/>
      <dgm:spPr/>
      <dgm:t>
        <a:bodyPr/>
        <a:lstStyle/>
        <a:p>
          <a:endParaRPr lang="en-US"/>
        </a:p>
      </dgm:t>
    </dgm:pt>
    <dgm:pt modelId="{F76A1032-2B93-4C53-BF6E-A20855E06A46}" type="sibTrans" cxnId="{B92301A1-D195-4B63-A9AE-011E06F41345}">
      <dgm:prSet/>
      <dgm:spPr/>
      <dgm:t>
        <a:bodyPr/>
        <a:lstStyle/>
        <a:p>
          <a:endParaRPr lang="en-US"/>
        </a:p>
      </dgm:t>
    </dgm:pt>
    <dgm:pt modelId="{ED6FAC0A-DA4C-42FD-8EC1-121D6BDF49DB}">
      <dgm:prSet phldrT="[Text]"/>
      <dgm:spPr/>
      <dgm:t>
        <a:bodyPr/>
        <a:lstStyle/>
        <a:p>
          <a:r>
            <a:rPr lang="en-US"/>
            <a:t>Match grants to projects</a:t>
          </a:r>
        </a:p>
      </dgm:t>
    </dgm:pt>
    <dgm:pt modelId="{C63FBE4D-E5AD-4182-AA48-7353B760CE96}" type="parTrans" cxnId="{0A2FC6FA-F480-4FA7-91AC-81FEF59F46CA}">
      <dgm:prSet/>
      <dgm:spPr/>
      <dgm:t>
        <a:bodyPr/>
        <a:lstStyle/>
        <a:p>
          <a:endParaRPr lang="en-US"/>
        </a:p>
      </dgm:t>
    </dgm:pt>
    <dgm:pt modelId="{321985ED-D922-4848-9878-799D306D4C84}" type="sibTrans" cxnId="{0A2FC6FA-F480-4FA7-91AC-81FEF59F46CA}">
      <dgm:prSet/>
      <dgm:spPr/>
      <dgm:t>
        <a:bodyPr/>
        <a:lstStyle/>
        <a:p>
          <a:endParaRPr lang="en-US"/>
        </a:p>
      </dgm:t>
    </dgm:pt>
    <dgm:pt modelId="{04B2A00F-BE3D-45B3-816E-78D1504EA7F7}">
      <dgm:prSet phldrT="[Text]"/>
      <dgm:spPr/>
      <dgm:t>
        <a:bodyPr/>
        <a:lstStyle/>
        <a:p>
          <a:r>
            <a:rPr lang="en-US"/>
            <a:t>Help look for partners/co-applicants (CBOs, other states, state agencies, universities, etc.)</a:t>
          </a:r>
        </a:p>
      </dgm:t>
    </dgm:pt>
    <dgm:pt modelId="{6265820E-DDCE-4082-914F-47455D9ED753}" type="parTrans" cxnId="{E9B5DD4D-9778-4CBC-9202-DA675E8703C1}">
      <dgm:prSet/>
      <dgm:spPr/>
      <dgm:t>
        <a:bodyPr/>
        <a:lstStyle/>
        <a:p>
          <a:endParaRPr lang="en-US"/>
        </a:p>
      </dgm:t>
    </dgm:pt>
    <dgm:pt modelId="{E2D4E75C-B3B0-45A5-9BF4-09B65929FACD}" type="sibTrans" cxnId="{E9B5DD4D-9778-4CBC-9202-DA675E8703C1}">
      <dgm:prSet/>
      <dgm:spPr/>
      <dgm:t>
        <a:bodyPr/>
        <a:lstStyle/>
        <a:p>
          <a:endParaRPr lang="en-US"/>
        </a:p>
      </dgm:t>
    </dgm:pt>
    <dgm:pt modelId="{B286EB0F-ED83-4D17-91EA-B34974CDE2BE}">
      <dgm:prSet phldrT="[Text]"/>
      <dgm:spPr/>
      <dgm:t>
        <a:bodyPr/>
        <a:lstStyle/>
        <a:p>
          <a:r>
            <a:rPr lang="en-US"/>
            <a:t>Advice on labor standards, DEI , climate, language.</a:t>
          </a:r>
        </a:p>
      </dgm:t>
    </dgm:pt>
    <dgm:pt modelId="{A09C7D5F-19BC-4566-8C41-A54D8E119C46}" type="parTrans" cxnId="{E5EB7754-C247-4591-9479-6B5269FA8B9E}">
      <dgm:prSet/>
      <dgm:spPr/>
      <dgm:t>
        <a:bodyPr/>
        <a:lstStyle/>
        <a:p>
          <a:endParaRPr lang="en-US"/>
        </a:p>
      </dgm:t>
    </dgm:pt>
    <dgm:pt modelId="{D22CC61D-58F0-4140-B201-882DF12EA521}" type="sibTrans" cxnId="{E5EB7754-C247-4591-9479-6B5269FA8B9E}">
      <dgm:prSet/>
      <dgm:spPr/>
      <dgm:t>
        <a:bodyPr/>
        <a:lstStyle/>
        <a:p>
          <a:endParaRPr lang="en-US"/>
        </a:p>
      </dgm:t>
    </dgm:pt>
    <dgm:pt modelId="{DFB572BE-C9FA-4482-B1AF-C44A54BDE372}">
      <dgm:prSet phldrT="[Text]"/>
      <dgm:spPr/>
      <dgm:t>
        <a:bodyPr/>
        <a:lstStyle/>
        <a:p>
          <a:r>
            <a:rPr lang="en-US"/>
            <a:t>Review application</a:t>
          </a:r>
        </a:p>
      </dgm:t>
    </dgm:pt>
    <dgm:pt modelId="{4FC448B3-353C-4ACD-BA1F-F80A4D7A100B}" type="parTrans" cxnId="{1E96887E-B062-4975-8CB1-DCBF52F22B00}">
      <dgm:prSet/>
      <dgm:spPr/>
      <dgm:t>
        <a:bodyPr/>
        <a:lstStyle/>
        <a:p>
          <a:endParaRPr lang="en-US"/>
        </a:p>
      </dgm:t>
    </dgm:pt>
    <dgm:pt modelId="{4704A853-BEBA-44CE-86A8-FD7027BE2643}" type="sibTrans" cxnId="{1E96887E-B062-4975-8CB1-DCBF52F22B00}">
      <dgm:prSet/>
      <dgm:spPr/>
      <dgm:t>
        <a:bodyPr/>
        <a:lstStyle/>
        <a:p>
          <a:endParaRPr lang="en-US"/>
        </a:p>
      </dgm:t>
    </dgm:pt>
    <dgm:pt modelId="{14BF2072-84BF-4322-8188-74EE477242CD}">
      <dgm:prSet phldrT="[Text]"/>
      <dgm:spPr/>
      <dgm:t>
        <a:bodyPr/>
        <a:lstStyle/>
        <a:p>
          <a:r>
            <a:rPr lang="en-US"/>
            <a:t>Letters of support from the state or </a:t>
          </a:r>
          <a:r>
            <a:rPr lang="en-US" err="1"/>
            <a:t>congressionals</a:t>
          </a:r>
          <a:endParaRPr lang="en-US"/>
        </a:p>
      </dgm:t>
    </dgm:pt>
    <dgm:pt modelId="{78E33C74-5B7B-4F28-8F2B-F5807A86113B}" type="parTrans" cxnId="{9D6CBC5F-A2E9-4574-BF07-6D25C9D2500A}">
      <dgm:prSet/>
      <dgm:spPr/>
      <dgm:t>
        <a:bodyPr/>
        <a:lstStyle/>
        <a:p>
          <a:endParaRPr lang="en-US"/>
        </a:p>
      </dgm:t>
    </dgm:pt>
    <dgm:pt modelId="{D1BFF538-38D9-4E19-8A3B-5035EA7D2818}" type="sibTrans" cxnId="{9D6CBC5F-A2E9-4574-BF07-6D25C9D2500A}">
      <dgm:prSet/>
      <dgm:spPr/>
      <dgm:t>
        <a:bodyPr/>
        <a:lstStyle/>
        <a:p>
          <a:endParaRPr lang="en-US"/>
        </a:p>
      </dgm:t>
    </dgm:pt>
    <dgm:pt modelId="{A5B72A1C-743E-4005-BD47-FF1C34179364}">
      <dgm:prSet phldrT="[Text]"/>
      <dgm:spPr/>
      <dgm:t>
        <a:bodyPr/>
        <a:lstStyle/>
        <a:p>
          <a:r>
            <a:rPr lang="en-US"/>
            <a:t>Calls and in-person advocacy when FFIO is in DC.</a:t>
          </a:r>
        </a:p>
      </dgm:t>
    </dgm:pt>
    <dgm:pt modelId="{EEE899CE-24D6-46B9-918D-41DB68D914ED}" type="parTrans" cxnId="{10A25050-4B91-4951-92D3-A076FA5FBFFF}">
      <dgm:prSet/>
      <dgm:spPr/>
      <dgm:t>
        <a:bodyPr/>
        <a:lstStyle/>
        <a:p>
          <a:endParaRPr lang="en-US"/>
        </a:p>
      </dgm:t>
    </dgm:pt>
    <dgm:pt modelId="{71A5AB72-1C19-40C8-9680-B8F273CD375C}" type="sibTrans" cxnId="{10A25050-4B91-4951-92D3-A076FA5FBFFF}">
      <dgm:prSet/>
      <dgm:spPr/>
      <dgm:t>
        <a:bodyPr/>
        <a:lstStyle/>
        <a:p>
          <a:endParaRPr lang="en-US"/>
        </a:p>
      </dgm:t>
    </dgm:pt>
    <dgm:pt modelId="{2CB09FEA-F469-4511-9C33-4522F2685F40}">
      <dgm:prSet phldrT="[Text]"/>
      <dgm:spPr/>
      <dgm:t>
        <a:bodyPr/>
        <a:lstStyle/>
        <a:p>
          <a:r>
            <a:rPr lang="en-US"/>
            <a:t>Get award dates/application status</a:t>
          </a:r>
        </a:p>
      </dgm:t>
    </dgm:pt>
    <dgm:pt modelId="{E53E5205-9107-4585-9528-13B983525D50}" type="parTrans" cxnId="{016976AE-B175-4A3C-9A9E-453F702AAAD6}">
      <dgm:prSet/>
      <dgm:spPr/>
      <dgm:t>
        <a:bodyPr/>
        <a:lstStyle/>
        <a:p>
          <a:endParaRPr lang="en-US"/>
        </a:p>
      </dgm:t>
    </dgm:pt>
    <dgm:pt modelId="{D60D89ED-A3F9-458C-951F-E71CE74D5AB8}" type="sibTrans" cxnId="{016976AE-B175-4A3C-9A9E-453F702AAAD6}">
      <dgm:prSet/>
      <dgm:spPr/>
      <dgm:t>
        <a:bodyPr/>
        <a:lstStyle/>
        <a:p>
          <a:endParaRPr lang="en-US"/>
        </a:p>
      </dgm:t>
    </dgm:pt>
    <dgm:pt modelId="{07A6C5FB-3B7B-4419-9359-C97987EB5C07}" type="pres">
      <dgm:prSet presAssocID="{9A6806F0-62CB-4D06-B009-11D2760EC81B}" presName="linear" presStyleCnt="0">
        <dgm:presLayoutVars>
          <dgm:dir/>
          <dgm:animLvl val="lvl"/>
          <dgm:resizeHandles val="exact"/>
        </dgm:presLayoutVars>
      </dgm:prSet>
      <dgm:spPr/>
    </dgm:pt>
    <dgm:pt modelId="{C10F10DD-CEAE-4E4D-BB55-D65162826B01}" type="pres">
      <dgm:prSet presAssocID="{3E07C2C4-9088-43DD-8B3E-8F43CD3D6F4F}" presName="parentLin" presStyleCnt="0"/>
      <dgm:spPr/>
    </dgm:pt>
    <dgm:pt modelId="{5D3EB1AE-FC2F-4046-97CD-15A228D01F05}" type="pres">
      <dgm:prSet presAssocID="{3E07C2C4-9088-43DD-8B3E-8F43CD3D6F4F}" presName="parentLeftMargin" presStyleLbl="node1" presStyleIdx="0" presStyleCnt="3"/>
      <dgm:spPr/>
    </dgm:pt>
    <dgm:pt modelId="{49D41C6C-F171-47D2-88B7-4DB4A378454E}" type="pres">
      <dgm:prSet presAssocID="{3E07C2C4-9088-43DD-8B3E-8F43CD3D6F4F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F551F827-3AB3-4910-9C7A-8A66518E54B2}" type="pres">
      <dgm:prSet presAssocID="{3E07C2C4-9088-43DD-8B3E-8F43CD3D6F4F}" presName="negativeSpace" presStyleCnt="0"/>
      <dgm:spPr/>
    </dgm:pt>
    <dgm:pt modelId="{7C24FDBF-6CCC-47F3-BFEE-FAFC35AFC15A}" type="pres">
      <dgm:prSet presAssocID="{3E07C2C4-9088-43DD-8B3E-8F43CD3D6F4F}" presName="childText" presStyleLbl="conFgAcc1" presStyleIdx="0" presStyleCnt="3">
        <dgm:presLayoutVars>
          <dgm:bulletEnabled val="1"/>
        </dgm:presLayoutVars>
      </dgm:prSet>
      <dgm:spPr/>
    </dgm:pt>
    <dgm:pt modelId="{0BCEA3BA-4365-4261-A9D4-680A2C457EAD}" type="pres">
      <dgm:prSet presAssocID="{63F0DDA2-FC4A-46C3-BDAD-EC153D1DDE20}" presName="spaceBetweenRectangles" presStyleCnt="0"/>
      <dgm:spPr/>
    </dgm:pt>
    <dgm:pt modelId="{EF2E5676-C76D-4A11-97EA-6364B2325243}" type="pres">
      <dgm:prSet presAssocID="{A73B23C2-D3EE-4D34-B7BB-876EF599AB10}" presName="parentLin" presStyleCnt="0"/>
      <dgm:spPr/>
    </dgm:pt>
    <dgm:pt modelId="{B55D7700-34F0-4035-8689-5ECD44005A7F}" type="pres">
      <dgm:prSet presAssocID="{A73B23C2-D3EE-4D34-B7BB-876EF599AB10}" presName="parentLeftMargin" presStyleLbl="node1" presStyleIdx="0" presStyleCnt="3"/>
      <dgm:spPr/>
    </dgm:pt>
    <dgm:pt modelId="{D2F30F6F-C273-415D-913B-76942B2A84A9}" type="pres">
      <dgm:prSet presAssocID="{A73B23C2-D3EE-4D34-B7BB-876EF599AB10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109A73F-3917-4F2A-895D-7071E6F10C2E}" type="pres">
      <dgm:prSet presAssocID="{A73B23C2-D3EE-4D34-B7BB-876EF599AB10}" presName="negativeSpace" presStyleCnt="0"/>
      <dgm:spPr/>
    </dgm:pt>
    <dgm:pt modelId="{AC360656-5180-4A8C-B968-F5E1DF01588C}" type="pres">
      <dgm:prSet presAssocID="{A73B23C2-D3EE-4D34-B7BB-876EF599AB10}" presName="childText" presStyleLbl="conFgAcc1" presStyleIdx="1" presStyleCnt="3">
        <dgm:presLayoutVars>
          <dgm:bulletEnabled val="1"/>
        </dgm:presLayoutVars>
      </dgm:prSet>
      <dgm:spPr/>
    </dgm:pt>
    <dgm:pt modelId="{C72C48DC-E81A-4A41-A02B-9B6342759062}" type="pres">
      <dgm:prSet presAssocID="{B043FAD9-8232-46E8-A1BD-8ABE4E6467C7}" presName="spaceBetweenRectangles" presStyleCnt="0"/>
      <dgm:spPr/>
    </dgm:pt>
    <dgm:pt modelId="{3DCEEC0D-6D51-41F5-8E15-48008E269E37}" type="pres">
      <dgm:prSet presAssocID="{6AEDA217-1E77-43C5-B0AA-80B2682E3A1D}" presName="parentLin" presStyleCnt="0"/>
      <dgm:spPr/>
    </dgm:pt>
    <dgm:pt modelId="{72E4CE5E-4BEE-4502-9C99-3D566402CF61}" type="pres">
      <dgm:prSet presAssocID="{6AEDA217-1E77-43C5-B0AA-80B2682E3A1D}" presName="parentLeftMargin" presStyleLbl="node1" presStyleIdx="1" presStyleCnt="3"/>
      <dgm:spPr/>
    </dgm:pt>
    <dgm:pt modelId="{12DE117D-80F9-462C-9C3C-AF04E8707F03}" type="pres">
      <dgm:prSet presAssocID="{6AEDA217-1E77-43C5-B0AA-80B2682E3A1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CD22010C-7E51-48A7-9DBC-9F85FD42EA9C}" type="pres">
      <dgm:prSet presAssocID="{6AEDA217-1E77-43C5-B0AA-80B2682E3A1D}" presName="negativeSpace" presStyleCnt="0"/>
      <dgm:spPr/>
    </dgm:pt>
    <dgm:pt modelId="{329BB4AB-C9F0-4629-8902-58BF17357DBE}" type="pres">
      <dgm:prSet presAssocID="{6AEDA217-1E77-43C5-B0AA-80B2682E3A1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E95CF08-75F6-40F3-B19B-9F912D1A9A27}" type="presOf" srcId="{9A6806F0-62CB-4D06-B009-11D2760EC81B}" destId="{07A6C5FB-3B7B-4419-9359-C97987EB5C07}" srcOrd="0" destOrd="0" presId="urn:microsoft.com/office/officeart/2005/8/layout/list1"/>
    <dgm:cxn modelId="{E8CAB40B-4C8B-4CDA-936C-072551559BCC}" type="presOf" srcId="{14BF2072-84BF-4322-8188-74EE477242CD}" destId="{329BB4AB-C9F0-4629-8902-58BF17357DBE}" srcOrd="0" destOrd="0" presId="urn:microsoft.com/office/officeart/2005/8/layout/list1"/>
    <dgm:cxn modelId="{1D80AD20-20E2-4CB8-982E-A8432E96EC81}" type="presOf" srcId="{3E07C2C4-9088-43DD-8B3E-8F43CD3D6F4F}" destId="{49D41C6C-F171-47D2-88B7-4DB4A378454E}" srcOrd="1" destOrd="0" presId="urn:microsoft.com/office/officeart/2005/8/layout/list1"/>
    <dgm:cxn modelId="{5D0EA728-CB37-4918-9053-2E5D63EF5968}" type="presOf" srcId="{A73B23C2-D3EE-4D34-B7BB-876EF599AB10}" destId="{D2F30F6F-C273-415D-913B-76942B2A84A9}" srcOrd="1" destOrd="0" presId="urn:microsoft.com/office/officeart/2005/8/layout/list1"/>
    <dgm:cxn modelId="{CACE892E-A2F8-4BC5-BBA4-F3A688909172}" type="presOf" srcId="{A73B23C2-D3EE-4D34-B7BB-876EF599AB10}" destId="{B55D7700-34F0-4035-8689-5ECD44005A7F}" srcOrd="0" destOrd="0" presId="urn:microsoft.com/office/officeart/2005/8/layout/list1"/>
    <dgm:cxn modelId="{9D6CBC5F-A2E9-4574-BF07-6D25C9D2500A}" srcId="{6AEDA217-1E77-43C5-B0AA-80B2682E3A1D}" destId="{14BF2072-84BF-4322-8188-74EE477242CD}" srcOrd="0" destOrd="0" parTransId="{78E33C74-5B7B-4F28-8F2B-F5807A86113B}" sibTransId="{D1BFF538-38D9-4E19-8A3B-5035EA7D2818}"/>
    <dgm:cxn modelId="{D44FFA44-52A8-48C4-82A0-65879443E4C0}" type="presOf" srcId="{2CB09FEA-F469-4511-9C33-4522F2685F40}" destId="{329BB4AB-C9F0-4629-8902-58BF17357DBE}" srcOrd="0" destOrd="2" presId="urn:microsoft.com/office/officeart/2005/8/layout/list1"/>
    <dgm:cxn modelId="{5EFDD06C-F8BE-4464-9F31-DA56ACE48871}" type="presOf" srcId="{3E07C2C4-9088-43DD-8B3E-8F43CD3D6F4F}" destId="{5D3EB1AE-FC2F-4046-97CD-15A228D01F05}" srcOrd="0" destOrd="0" presId="urn:microsoft.com/office/officeart/2005/8/layout/list1"/>
    <dgm:cxn modelId="{E9B5DD4D-9778-4CBC-9202-DA675E8703C1}" srcId="{3E07C2C4-9088-43DD-8B3E-8F43CD3D6F4F}" destId="{04B2A00F-BE3D-45B3-816E-78D1504EA7F7}" srcOrd="1" destOrd="0" parTransId="{6265820E-DDCE-4082-914F-47455D9ED753}" sibTransId="{E2D4E75C-B3B0-45A5-9BF4-09B65929FACD}"/>
    <dgm:cxn modelId="{10A25050-4B91-4951-92D3-A076FA5FBFFF}" srcId="{6AEDA217-1E77-43C5-B0AA-80B2682E3A1D}" destId="{A5B72A1C-743E-4005-BD47-FF1C34179364}" srcOrd="1" destOrd="0" parTransId="{EEE899CE-24D6-46B9-918D-41DB68D914ED}" sibTransId="{71A5AB72-1C19-40C8-9680-B8F273CD375C}"/>
    <dgm:cxn modelId="{E5EB7754-C247-4591-9479-6B5269FA8B9E}" srcId="{A73B23C2-D3EE-4D34-B7BB-876EF599AB10}" destId="{B286EB0F-ED83-4D17-91EA-B34974CDE2BE}" srcOrd="0" destOrd="0" parTransId="{A09C7D5F-19BC-4566-8C41-A54D8E119C46}" sibTransId="{D22CC61D-58F0-4140-B201-882DF12EA521}"/>
    <dgm:cxn modelId="{1E96887E-B062-4975-8CB1-DCBF52F22B00}" srcId="{A73B23C2-D3EE-4D34-B7BB-876EF599AB10}" destId="{DFB572BE-C9FA-4482-B1AF-C44A54BDE372}" srcOrd="1" destOrd="0" parTransId="{4FC448B3-353C-4ACD-BA1F-F80A4D7A100B}" sibTransId="{4704A853-BEBA-44CE-86A8-FD7027BE2643}"/>
    <dgm:cxn modelId="{B315CD93-2D51-43F6-BC20-077E70B85E05}" type="presOf" srcId="{ED6FAC0A-DA4C-42FD-8EC1-121D6BDF49DB}" destId="{7C24FDBF-6CCC-47F3-BFEE-FAFC35AFC15A}" srcOrd="0" destOrd="0" presId="urn:microsoft.com/office/officeart/2005/8/layout/list1"/>
    <dgm:cxn modelId="{CB2FF2A0-7FEF-4EFD-A8BB-128D02354E08}" type="presOf" srcId="{A5B72A1C-743E-4005-BD47-FF1C34179364}" destId="{329BB4AB-C9F0-4629-8902-58BF17357DBE}" srcOrd="0" destOrd="1" presId="urn:microsoft.com/office/officeart/2005/8/layout/list1"/>
    <dgm:cxn modelId="{B92301A1-D195-4B63-A9AE-011E06F41345}" srcId="{9A6806F0-62CB-4D06-B009-11D2760EC81B}" destId="{6AEDA217-1E77-43C5-B0AA-80B2682E3A1D}" srcOrd="2" destOrd="0" parTransId="{F6F04803-7CEE-4C86-9F5E-4B72A0C95428}" sibTransId="{F76A1032-2B93-4C53-BF6E-A20855E06A46}"/>
    <dgm:cxn modelId="{016976AE-B175-4A3C-9A9E-453F702AAAD6}" srcId="{6AEDA217-1E77-43C5-B0AA-80B2682E3A1D}" destId="{2CB09FEA-F469-4511-9C33-4522F2685F40}" srcOrd="2" destOrd="0" parTransId="{E53E5205-9107-4585-9528-13B983525D50}" sibTransId="{D60D89ED-A3F9-458C-951F-E71CE74D5AB8}"/>
    <dgm:cxn modelId="{6D6B7CB8-1ACA-423B-907A-EC76767B6D96}" srcId="{9A6806F0-62CB-4D06-B009-11D2760EC81B}" destId="{A73B23C2-D3EE-4D34-B7BB-876EF599AB10}" srcOrd="1" destOrd="0" parTransId="{F546AFF4-8D37-4E5F-98BA-8985AF1202BF}" sibTransId="{B043FAD9-8232-46E8-A1BD-8ABE4E6467C7}"/>
    <dgm:cxn modelId="{5A4C15BC-FE71-4389-9B8B-A8EB924BA6CC}" srcId="{9A6806F0-62CB-4D06-B009-11D2760EC81B}" destId="{3E07C2C4-9088-43DD-8B3E-8F43CD3D6F4F}" srcOrd="0" destOrd="0" parTransId="{824939E1-7C59-43CD-AF4F-C1E02E2982AA}" sibTransId="{63F0DDA2-FC4A-46C3-BDAD-EC153D1DDE20}"/>
    <dgm:cxn modelId="{6B91C8C4-9725-4F0C-A8EE-F4C95A9A0830}" type="presOf" srcId="{04B2A00F-BE3D-45B3-816E-78D1504EA7F7}" destId="{7C24FDBF-6CCC-47F3-BFEE-FAFC35AFC15A}" srcOrd="0" destOrd="1" presId="urn:microsoft.com/office/officeart/2005/8/layout/list1"/>
    <dgm:cxn modelId="{1F8818C7-F311-4339-8A5E-AC1D80629ECC}" type="presOf" srcId="{DFB572BE-C9FA-4482-B1AF-C44A54BDE372}" destId="{AC360656-5180-4A8C-B968-F5E1DF01588C}" srcOrd="0" destOrd="1" presId="urn:microsoft.com/office/officeart/2005/8/layout/list1"/>
    <dgm:cxn modelId="{63F82BC7-B603-47DC-A3A6-F37D96920B52}" type="presOf" srcId="{B286EB0F-ED83-4D17-91EA-B34974CDE2BE}" destId="{AC360656-5180-4A8C-B968-F5E1DF01588C}" srcOrd="0" destOrd="0" presId="urn:microsoft.com/office/officeart/2005/8/layout/list1"/>
    <dgm:cxn modelId="{C0785ED9-F997-4F53-87E3-EA75DDB23D9C}" type="presOf" srcId="{6AEDA217-1E77-43C5-B0AA-80B2682E3A1D}" destId="{72E4CE5E-4BEE-4502-9C99-3D566402CF61}" srcOrd="0" destOrd="0" presId="urn:microsoft.com/office/officeart/2005/8/layout/list1"/>
    <dgm:cxn modelId="{F90198D9-A4DB-45D8-93E6-4CA50DB30C1B}" type="presOf" srcId="{6AEDA217-1E77-43C5-B0AA-80B2682E3A1D}" destId="{12DE117D-80F9-462C-9C3C-AF04E8707F03}" srcOrd="1" destOrd="0" presId="urn:microsoft.com/office/officeart/2005/8/layout/list1"/>
    <dgm:cxn modelId="{0A2FC6FA-F480-4FA7-91AC-81FEF59F46CA}" srcId="{3E07C2C4-9088-43DD-8B3E-8F43CD3D6F4F}" destId="{ED6FAC0A-DA4C-42FD-8EC1-121D6BDF49DB}" srcOrd="0" destOrd="0" parTransId="{C63FBE4D-E5AD-4182-AA48-7353B760CE96}" sibTransId="{321985ED-D922-4848-9878-799D306D4C84}"/>
    <dgm:cxn modelId="{CBADA990-A76A-4CE8-837F-44AF2D5DEB68}" type="presParOf" srcId="{07A6C5FB-3B7B-4419-9359-C97987EB5C07}" destId="{C10F10DD-CEAE-4E4D-BB55-D65162826B01}" srcOrd="0" destOrd="0" presId="urn:microsoft.com/office/officeart/2005/8/layout/list1"/>
    <dgm:cxn modelId="{3852F132-CD10-4812-8653-4D348344AEDC}" type="presParOf" srcId="{C10F10DD-CEAE-4E4D-BB55-D65162826B01}" destId="{5D3EB1AE-FC2F-4046-97CD-15A228D01F05}" srcOrd="0" destOrd="0" presId="urn:microsoft.com/office/officeart/2005/8/layout/list1"/>
    <dgm:cxn modelId="{A306F8EC-F3B3-4EAF-8387-9F6B8F9ED4D3}" type="presParOf" srcId="{C10F10DD-CEAE-4E4D-BB55-D65162826B01}" destId="{49D41C6C-F171-47D2-88B7-4DB4A378454E}" srcOrd="1" destOrd="0" presId="urn:microsoft.com/office/officeart/2005/8/layout/list1"/>
    <dgm:cxn modelId="{E721D466-4374-44FA-8F84-D3D1F080CAFB}" type="presParOf" srcId="{07A6C5FB-3B7B-4419-9359-C97987EB5C07}" destId="{F551F827-3AB3-4910-9C7A-8A66518E54B2}" srcOrd="1" destOrd="0" presId="urn:microsoft.com/office/officeart/2005/8/layout/list1"/>
    <dgm:cxn modelId="{E3F1938F-C1CA-4679-BA50-B4069C703261}" type="presParOf" srcId="{07A6C5FB-3B7B-4419-9359-C97987EB5C07}" destId="{7C24FDBF-6CCC-47F3-BFEE-FAFC35AFC15A}" srcOrd="2" destOrd="0" presId="urn:microsoft.com/office/officeart/2005/8/layout/list1"/>
    <dgm:cxn modelId="{32F26E36-B5A1-4300-A148-35111283FFD0}" type="presParOf" srcId="{07A6C5FB-3B7B-4419-9359-C97987EB5C07}" destId="{0BCEA3BA-4365-4261-A9D4-680A2C457EAD}" srcOrd="3" destOrd="0" presId="urn:microsoft.com/office/officeart/2005/8/layout/list1"/>
    <dgm:cxn modelId="{5E9CCAB5-0B54-4FF2-8194-064F0CF48DE6}" type="presParOf" srcId="{07A6C5FB-3B7B-4419-9359-C97987EB5C07}" destId="{EF2E5676-C76D-4A11-97EA-6364B2325243}" srcOrd="4" destOrd="0" presId="urn:microsoft.com/office/officeart/2005/8/layout/list1"/>
    <dgm:cxn modelId="{78E88EC8-BBAC-49B4-AF3C-D7069EBE3726}" type="presParOf" srcId="{EF2E5676-C76D-4A11-97EA-6364B2325243}" destId="{B55D7700-34F0-4035-8689-5ECD44005A7F}" srcOrd="0" destOrd="0" presId="urn:microsoft.com/office/officeart/2005/8/layout/list1"/>
    <dgm:cxn modelId="{A3CE8664-057D-42B7-841D-35BE21825704}" type="presParOf" srcId="{EF2E5676-C76D-4A11-97EA-6364B2325243}" destId="{D2F30F6F-C273-415D-913B-76942B2A84A9}" srcOrd="1" destOrd="0" presId="urn:microsoft.com/office/officeart/2005/8/layout/list1"/>
    <dgm:cxn modelId="{C0C5602E-7899-47A5-8027-4C927BD8A31B}" type="presParOf" srcId="{07A6C5FB-3B7B-4419-9359-C97987EB5C07}" destId="{0109A73F-3917-4F2A-895D-7071E6F10C2E}" srcOrd="5" destOrd="0" presId="urn:microsoft.com/office/officeart/2005/8/layout/list1"/>
    <dgm:cxn modelId="{B581450C-617D-4CFE-A67D-54C15D00A030}" type="presParOf" srcId="{07A6C5FB-3B7B-4419-9359-C97987EB5C07}" destId="{AC360656-5180-4A8C-B968-F5E1DF01588C}" srcOrd="6" destOrd="0" presId="urn:microsoft.com/office/officeart/2005/8/layout/list1"/>
    <dgm:cxn modelId="{D3D864F7-338A-41DB-9F09-C20346D04512}" type="presParOf" srcId="{07A6C5FB-3B7B-4419-9359-C97987EB5C07}" destId="{C72C48DC-E81A-4A41-A02B-9B6342759062}" srcOrd="7" destOrd="0" presId="urn:microsoft.com/office/officeart/2005/8/layout/list1"/>
    <dgm:cxn modelId="{F3835D7C-9FEE-4C67-8D01-19FEBEEC742A}" type="presParOf" srcId="{07A6C5FB-3B7B-4419-9359-C97987EB5C07}" destId="{3DCEEC0D-6D51-41F5-8E15-48008E269E37}" srcOrd="8" destOrd="0" presId="urn:microsoft.com/office/officeart/2005/8/layout/list1"/>
    <dgm:cxn modelId="{5CA0E2F8-99F8-4728-BE47-69F63E924F96}" type="presParOf" srcId="{3DCEEC0D-6D51-41F5-8E15-48008E269E37}" destId="{72E4CE5E-4BEE-4502-9C99-3D566402CF61}" srcOrd="0" destOrd="0" presId="urn:microsoft.com/office/officeart/2005/8/layout/list1"/>
    <dgm:cxn modelId="{4F170A1E-D145-41B9-BE98-6FA4C166DA9B}" type="presParOf" srcId="{3DCEEC0D-6D51-41F5-8E15-48008E269E37}" destId="{12DE117D-80F9-462C-9C3C-AF04E8707F03}" srcOrd="1" destOrd="0" presId="urn:microsoft.com/office/officeart/2005/8/layout/list1"/>
    <dgm:cxn modelId="{D1921F77-7311-45F2-A7E9-CE9E130E710E}" type="presParOf" srcId="{07A6C5FB-3B7B-4419-9359-C97987EB5C07}" destId="{CD22010C-7E51-48A7-9DBC-9F85FD42EA9C}" srcOrd="9" destOrd="0" presId="urn:microsoft.com/office/officeart/2005/8/layout/list1"/>
    <dgm:cxn modelId="{7FBA6782-AC39-45E7-AAC4-D621B527D51C}" type="presParOf" srcId="{07A6C5FB-3B7B-4419-9359-C97987EB5C07}" destId="{329BB4AB-C9F0-4629-8902-58BF17357DB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71B674-69EE-409B-914D-7D2EAE1473A3}">
      <dsp:nvSpPr>
        <dsp:cNvPr id="0" name=""/>
        <dsp:cNvSpPr/>
      </dsp:nvSpPr>
      <dsp:spPr>
        <a:xfrm>
          <a:off x="0" y="3143"/>
          <a:ext cx="7066273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3876F2-4573-48DE-B38C-14FA55582084}">
      <dsp:nvSpPr>
        <dsp:cNvPr id="0" name=""/>
        <dsp:cNvSpPr/>
      </dsp:nvSpPr>
      <dsp:spPr>
        <a:xfrm>
          <a:off x="0" y="3143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+mn-lt"/>
            </a:rPr>
            <a:t>About FFIO</a:t>
          </a:r>
        </a:p>
      </dsp:txBody>
      <dsp:txXfrm>
        <a:off x="0" y="3143"/>
        <a:ext cx="7066273" cy="584718"/>
      </dsp:txXfrm>
    </dsp:sp>
    <dsp:sp modelId="{5ADED652-3E0A-4D4C-BCAD-59477DBCEA60}">
      <dsp:nvSpPr>
        <dsp:cNvPr id="0" name=""/>
        <dsp:cNvSpPr/>
      </dsp:nvSpPr>
      <dsp:spPr>
        <a:xfrm>
          <a:off x="0" y="587861"/>
          <a:ext cx="7066273" cy="0"/>
        </a:xfrm>
        <a:prstGeom prst="line">
          <a:avLst/>
        </a:prstGeom>
        <a:solidFill>
          <a:schemeClr val="accent2">
            <a:hueOff val="-132337"/>
            <a:satOff val="149"/>
            <a:lumOff val="353"/>
            <a:alphaOff val="0"/>
          </a:schemeClr>
        </a:solidFill>
        <a:ln w="15875" cap="flat" cmpd="sng" algn="ctr">
          <a:solidFill>
            <a:schemeClr val="accent2">
              <a:hueOff val="-132337"/>
              <a:satOff val="149"/>
              <a:lumOff val="35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9DE12F-2110-D447-95A9-FB79001D3523}">
      <dsp:nvSpPr>
        <dsp:cNvPr id="0" name=""/>
        <dsp:cNvSpPr/>
      </dsp:nvSpPr>
      <dsp:spPr>
        <a:xfrm>
          <a:off x="0" y="587861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spc="200" dirty="0">
              <a:latin typeface="+mn-lt"/>
            </a:rPr>
            <a:t>Local Government Engagement</a:t>
          </a:r>
          <a:endParaRPr lang="en-GB" sz="2000" kern="1200" dirty="0">
            <a:latin typeface="+mn-lt"/>
          </a:endParaRPr>
        </a:p>
      </dsp:txBody>
      <dsp:txXfrm>
        <a:off x="0" y="587861"/>
        <a:ext cx="7066273" cy="584718"/>
      </dsp:txXfrm>
    </dsp:sp>
    <dsp:sp modelId="{5EA078E5-D83B-4C7B-9388-D30175397E4B}">
      <dsp:nvSpPr>
        <dsp:cNvPr id="0" name=""/>
        <dsp:cNvSpPr/>
      </dsp:nvSpPr>
      <dsp:spPr>
        <a:xfrm>
          <a:off x="0" y="1172580"/>
          <a:ext cx="7066273" cy="0"/>
        </a:xfrm>
        <a:prstGeom prst="line">
          <a:avLst/>
        </a:prstGeom>
        <a:solidFill>
          <a:schemeClr val="accent2">
            <a:hueOff val="-264675"/>
            <a:satOff val="298"/>
            <a:lumOff val="706"/>
            <a:alphaOff val="0"/>
          </a:schemeClr>
        </a:solidFill>
        <a:ln w="15875" cap="flat" cmpd="sng" algn="ctr">
          <a:solidFill>
            <a:schemeClr val="accent2">
              <a:hueOff val="-264675"/>
              <a:satOff val="298"/>
              <a:lumOff val="70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FC1A20-8B95-442F-BAFF-F90F8F847D83}">
      <dsp:nvSpPr>
        <dsp:cNvPr id="0" name=""/>
        <dsp:cNvSpPr/>
      </dsp:nvSpPr>
      <dsp:spPr>
        <a:xfrm>
          <a:off x="0" y="1172580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+mn-lt"/>
            </a:rPr>
            <a:t>Federal Matching Funds Legislation</a:t>
          </a:r>
          <a:endParaRPr lang="en-US" sz="2000" kern="1200" spc="200" dirty="0">
            <a:latin typeface="+mn-lt"/>
          </a:endParaRPr>
        </a:p>
      </dsp:txBody>
      <dsp:txXfrm>
        <a:off x="0" y="1172580"/>
        <a:ext cx="7066273" cy="584718"/>
      </dsp:txXfrm>
    </dsp:sp>
    <dsp:sp modelId="{7194CEA1-A1A2-3848-86D3-570A91AEF88C}">
      <dsp:nvSpPr>
        <dsp:cNvPr id="0" name=""/>
        <dsp:cNvSpPr/>
      </dsp:nvSpPr>
      <dsp:spPr>
        <a:xfrm>
          <a:off x="0" y="1757298"/>
          <a:ext cx="7066273" cy="0"/>
        </a:xfrm>
        <a:prstGeom prst="line">
          <a:avLst/>
        </a:prstGeom>
        <a:solidFill>
          <a:schemeClr val="accent2">
            <a:hueOff val="-397012"/>
            <a:satOff val="448"/>
            <a:lumOff val="1059"/>
            <a:alphaOff val="0"/>
          </a:schemeClr>
        </a:solidFill>
        <a:ln w="15875" cap="flat" cmpd="sng" algn="ctr">
          <a:solidFill>
            <a:schemeClr val="accent2">
              <a:hueOff val="-397012"/>
              <a:satOff val="448"/>
              <a:lumOff val="105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43FD6E-4558-A445-9519-B0E9F6C55091}">
      <dsp:nvSpPr>
        <dsp:cNvPr id="0" name=""/>
        <dsp:cNvSpPr/>
      </dsp:nvSpPr>
      <dsp:spPr>
        <a:xfrm>
          <a:off x="0" y="1757298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latin typeface="+mn-lt"/>
            </a:rPr>
            <a:t>New Bedford Port Authority: Leonard’s Wharf</a:t>
          </a:r>
        </a:p>
      </dsp:txBody>
      <dsp:txXfrm>
        <a:off x="0" y="1757298"/>
        <a:ext cx="7066273" cy="584718"/>
      </dsp:txXfrm>
    </dsp:sp>
    <dsp:sp modelId="{ADBEFBAA-1DC9-475B-9136-FA43407CC1CE}">
      <dsp:nvSpPr>
        <dsp:cNvPr id="0" name=""/>
        <dsp:cNvSpPr/>
      </dsp:nvSpPr>
      <dsp:spPr>
        <a:xfrm>
          <a:off x="0" y="2342016"/>
          <a:ext cx="7066273" cy="0"/>
        </a:xfrm>
        <a:prstGeom prst="line">
          <a:avLst/>
        </a:prstGeom>
        <a:solidFill>
          <a:schemeClr val="accent2">
            <a:hueOff val="-529349"/>
            <a:satOff val="597"/>
            <a:lumOff val="1412"/>
            <a:alphaOff val="0"/>
          </a:schemeClr>
        </a:solidFill>
        <a:ln w="15875" cap="flat" cmpd="sng" algn="ctr">
          <a:solidFill>
            <a:schemeClr val="accent2">
              <a:hueOff val="-529349"/>
              <a:satOff val="597"/>
              <a:lumOff val="141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D216CE-DBBB-4015-94FA-0F2C9B1358A9}">
      <dsp:nvSpPr>
        <dsp:cNvPr id="0" name=""/>
        <dsp:cNvSpPr/>
      </dsp:nvSpPr>
      <dsp:spPr>
        <a:xfrm>
          <a:off x="0" y="2342016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Ocean Tech Hub: </a:t>
          </a:r>
          <a:r>
            <a:rPr lang="en-US" sz="2000" kern="1200" noProof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Advancing Marine Technology Innovation through Regional Partnerships </a:t>
          </a:r>
          <a:endParaRPr lang="en-US" sz="2000" kern="1200" dirty="0">
            <a:latin typeface="+mn-lt"/>
          </a:endParaRPr>
        </a:p>
      </dsp:txBody>
      <dsp:txXfrm>
        <a:off x="0" y="2342016"/>
        <a:ext cx="7066273" cy="584718"/>
      </dsp:txXfrm>
    </dsp:sp>
    <dsp:sp modelId="{DA940355-1F91-41FC-AB0C-B939F04CF7DC}">
      <dsp:nvSpPr>
        <dsp:cNvPr id="0" name=""/>
        <dsp:cNvSpPr/>
      </dsp:nvSpPr>
      <dsp:spPr>
        <a:xfrm>
          <a:off x="0" y="2926735"/>
          <a:ext cx="7066273" cy="0"/>
        </a:xfrm>
        <a:prstGeom prst="line">
          <a:avLst/>
        </a:prstGeom>
        <a:solidFill>
          <a:schemeClr val="accent2">
            <a:hueOff val="-661686"/>
            <a:satOff val="746"/>
            <a:lumOff val="1765"/>
            <a:alphaOff val="0"/>
          </a:schemeClr>
        </a:solidFill>
        <a:ln w="15875" cap="flat" cmpd="sng" algn="ctr">
          <a:solidFill>
            <a:schemeClr val="accent2">
              <a:hueOff val="-661686"/>
              <a:satOff val="746"/>
              <a:lumOff val="176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BB8A6B-4C45-48D7-ACD7-EF00673E2F1F}">
      <dsp:nvSpPr>
        <dsp:cNvPr id="0" name=""/>
        <dsp:cNvSpPr/>
      </dsp:nvSpPr>
      <dsp:spPr>
        <a:xfrm>
          <a:off x="0" y="2926735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spc="200">
              <a:latin typeface="+mn-lt"/>
            </a:rPr>
            <a:t>New Federal </a:t>
          </a:r>
          <a:r>
            <a:rPr lang="en-US" sz="2000" kern="1200" spc="200" dirty="0">
              <a:latin typeface="+mn-lt"/>
            </a:rPr>
            <a:t>Funding Opportunities </a:t>
          </a:r>
          <a:r>
            <a:rPr lang="en-US" sz="2000" kern="1200" noProof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 </a:t>
          </a:r>
          <a:r>
            <a:rPr lang="en-GB" sz="20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 </a:t>
          </a:r>
          <a:r>
            <a:rPr lang="en-US" sz="2000" kern="1200" dirty="0">
              <a:latin typeface="+mn-lt"/>
            </a:rPr>
            <a:t> </a:t>
          </a:r>
        </a:p>
      </dsp:txBody>
      <dsp:txXfrm>
        <a:off x="0" y="2926735"/>
        <a:ext cx="7066273" cy="584718"/>
      </dsp:txXfrm>
    </dsp:sp>
    <dsp:sp modelId="{DCEBEB47-31FE-4FFE-A2E1-2EE1438E80EF}">
      <dsp:nvSpPr>
        <dsp:cNvPr id="0" name=""/>
        <dsp:cNvSpPr/>
      </dsp:nvSpPr>
      <dsp:spPr>
        <a:xfrm>
          <a:off x="0" y="3511453"/>
          <a:ext cx="7066273" cy="0"/>
        </a:xfrm>
        <a:prstGeom prst="line">
          <a:avLst/>
        </a:prstGeom>
        <a:solidFill>
          <a:schemeClr val="accent2">
            <a:hueOff val="-794024"/>
            <a:satOff val="895"/>
            <a:lumOff val="2118"/>
            <a:alphaOff val="0"/>
          </a:schemeClr>
        </a:solidFill>
        <a:ln w="15875" cap="flat" cmpd="sng" algn="ctr">
          <a:solidFill>
            <a:schemeClr val="accent2">
              <a:hueOff val="-794024"/>
              <a:satOff val="895"/>
              <a:lumOff val="211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54600F-BE1E-4B91-BE4F-AC824F342AAB}">
      <dsp:nvSpPr>
        <dsp:cNvPr id="0" name=""/>
        <dsp:cNvSpPr/>
      </dsp:nvSpPr>
      <dsp:spPr>
        <a:xfrm>
          <a:off x="0" y="3511453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u="none" kern="1200" dirty="0">
              <a:latin typeface="+mn-lt"/>
            </a:rPr>
            <a:t>MassDOT Municipal Grants</a:t>
          </a:r>
          <a:endParaRPr lang="en-GB" sz="2000" kern="1200" dirty="0">
            <a:latin typeface="+mn-lt"/>
          </a:endParaRPr>
        </a:p>
      </dsp:txBody>
      <dsp:txXfrm>
        <a:off x="0" y="3511453"/>
        <a:ext cx="7066273" cy="584718"/>
      </dsp:txXfrm>
    </dsp:sp>
    <dsp:sp modelId="{9A5B567A-CFC9-8046-ACF4-45A974340805}">
      <dsp:nvSpPr>
        <dsp:cNvPr id="0" name=""/>
        <dsp:cNvSpPr/>
      </dsp:nvSpPr>
      <dsp:spPr>
        <a:xfrm>
          <a:off x="0" y="4096172"/>
          <a:ext cx="7066273" cy="0"/>
        </a:xfrm>
        <a:prstGeom prst="line">
          <a:avLst/>
        </a:prstGeom>
        <a:solidFill>
          <a:schemeClr val="accent2">
            <a:hueOff val="-926361"/>
            <a:satOff val="1044"/>
            <a:lumOff val="2471"/>
            <a:alphaOff val="0"/>
          </a:schemeClr>
        </a:solidFill>
        <a:ln w="15875" cap="flat" cmpd="sng" algn="ctr">
          <a:solidFill>
            <a:schemeClr val="accent2">
              <a:hueOff val="-926361"/>
              <a:satOff val="1044"/>
              <a:lumOff val="247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B97E99-E159-E34A-9880-D9520EB5C36C}">
      <dsp:nvSpPr>
        <dsp:cNvPr id="0" name=""/>
        <dsp:cNvSpPr/>
      </dsp:nvSpPr>
      <dsp:spPr>
        <a:xfrm>
          <a:off x="0" y="4096172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+mn-lt"/>
            </a:rPr>
            <a:t>Direct Pay </a:t>
          </a:r>
          <a:endParaRPr lang="en-GB" sz="2000" kern="1200">
            <a:latin typeface="+mn-lt"/>
          </a:endParaRPr>
        </a:p>
      </dsp:txBody>
      <dsp:txXfrm>
        <a:off x="0" y="4096172"/>
        <a:ext cx="7066273" cy="584718"/>
      </dsp:txXfrm>
    </dsp:sp>
    <dsp:sp modelId="{E42DEE3B-6577-3B40-B5C2-0AE07D4DC4B9}">
      <dsp:nvSpPr>
        <dsp:cNvPr id="0" name=""/>
        <dsp:cNvSpPr/>
      </dsp:nvSpPr>
      <dsp:spPr>
        <a:xfrm>
          <a:off x="0" y="4680890"/>
          <a:ext cx="7066273" cy="0"/>
        </a:xfrm>
        <a:prstGeom prst="line">
          <a:avLst/>
        </a:prstGeom>
        <a:solidFill>
          <a:schemeClr val="accent2">
            <a:hueOff val="-1058698"/>
            <a:satOff val="1194"/>
            <a:lumOff val="2824"/>
            <a:alphaOff val="0"/>
          </a:schemeClr>
        </a:solidFill>
        <a:ln w="15875" cap="flat" cmpd="sng" algn="ctr">
          <a:solidFill>
            <a:schemeClr val="accent2">
              <a:hueOff val="-1058698"/>
              <a:satOff val="1194"/>
              <a:lumOff val="282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0A4B9F-D264-1F4A-90B4-779FCF5E0AF7}">
      <dsp:nvSpPr>
        <dsp:cNvPr id="0" name=""/>
        <dsp:cNvSpPr/>
      </dsp:nvSpPr>
      <dsp:spPr>
        <a:xfrm>
          <a:off x="0" y="4680890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 err="1">
              <a:latin typeface="+mn-lt"/>
            </a:rPr>
            <a:t>GrantWell</a:t>
          </a:r>
          <a:r>
            <a:rPr lang="en-IN" sz="2000" kern="1200" dirty="0">
              <a:latin typeface="+mn-lt"/>
            </a:rPr>
            <a:t>: Simplifying Federal Grant Application Processes with AI </a:t>
          </a:r>
          <a:endParaRPr lang="en-GB" sz="20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+mn-lt"/>
            <a:ea typeface="+mn-ea"/>
            <a:cs typeface="+mn-cs"/>
          </a:endParaRPr>
        </a:p>
      </dsp:txBody>
      <dsp:txXfrm>
        <a:off x="0" y="4680890"/>
        <a:ext cx="7066273" cy="584718"/>
      </dsp:txXfrm>
    </dsp:sp>
    <dsp:sp modelId="{3F1E35BF-8F97-D548-B80A-A7F4A98E267F}">
      <dsp:nvSpPr>
        <dsp:cNvPr id="0" name=""/>
        <dsp:cNvSpPr/>
      </dsp:nvSpPr>
      <dsp:spPr>
        <a:xfrm>
          <a:off x="0" y="5265608"/>
          <a:ext cx="7066273" cy="0"/>
        </a:xfrm>
        <a:prstGeom prst="line">
          <a:avLst/>
        </a:prstGeom>
        <a:solidFill>
          <a:schemeClr val="accent2">
            <a:hueOff val="-1191035"/>
            <a:satOff val="1343"/>
            <a:lumOff val="3177"/>
            <a:alphaOff val="0"/>
          </a:schemeClr>
        </a:solidFill>
        <a:ln w="15875" cap="flat" cmpd="sng" algn="ctr">
          <a:solidFill>
            <a:schemeClr val="accent2">
              <a:hueOff val="-1191035"/>
              <a:satOff val="1343"/>
              <a:lumOff val="317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3EA04C-AEB2-B541-AC28-C5AAD7F954D2}">
      <dsp:nvSpPr>
        <dsp:cNvPr id="0" name=""/>
        <dsp:cNvSpPr/>
      </dsp:nvSpPr>
      <dsp:spPr>
        <a:xfrm>
          <a:off x="0" y="5265608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latin typeface="+mn-lt"/>
            </a:rPr>
            <a:t>Audience Engagement Exercise</a:t>
          </a:r>
        </a:p>
      </dsp:txBody>
      <dsp:txXfrm>
        <a:off x="0" y="5265608"/>
        <a:ext cx="7066273" cy="584718"/>
      </dsp:txXfrm>
    </dsp:sp>
    <dsp:sp modelId="{07309E4B-D895-4811-8C7D-BBE793C6B3C3}">
      <dsp:nvSpPr>
        <dsp:cNvPr id="0" name=""/>
        <dsp:cNvSpPr/>
      </dsp:nvSpPr>
      <dsp:spPr>
        <a:xfrm>
          <a:off x="0" y="5850327"/>
          <a:ext cx="7066273" cy="0"/>
        </a:xfrm>
        <a:prstGeom prst="line">
          <a:avLst/>
        </a:prstGeom>
        <a:solidFill>
          <a:schemeClr val="accent2">
            <a:hueOff val="-1323373"/>
            <a:satOff val="1492"/>
            <a:lumOff val="3530"/>
            <a:alphaOff val="0"/>
          </a:schemeClr>
        </a:solidFill>
        <a:ln w="15875" cap="flat" cmpd="sng" algn="ctr">
          <a:solidFill>
            <a:schemeClr val="accent2">
              <a:hueOff val="-1323373"/>
              <a:satOff val="1492"/>
              <a:lumOff val="35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F24777-2AA6-456F-B41E-CE00E6F86F5E}">
      <dsp:nvSpPr>
        <dsp:cNvPr id="0" name=""/>
        <dsp:cNvSpPr/>
      </dsp:nvSpPr>
      <dsp:spPr>
        <a:xfrm>
          <a:off x="0" y="5850327"/>
          <a:ext cx="7066273" cy="584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+mn-lt"/>
            </a:rPr>
            <a:t>Q&amp;A / Discussion</a:t>
          </a:r>
        </a:p>
      </dsp:txBody>
      <dsp:txXfrm>
        <a:off x="0" y="5850327"/>
        <a:ext cx="7066273" cy="5847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4C0CFE-CB0A-44B3-89C8-D749A9E1B18C}">
      <dsp:nvSpPr>
        <dsp:cNvPr id="0" name=""/>
        <dsp:cNvSpPr/>
      </dsp:nvSpPr>
      <dsp:spPr>
        <a:xfrm>
          <a:off x="0" y="0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8E8319-B6D5-49D3-B540-92B6D9A64BEC}">
      <dsp:nvSpPr>
        <dsp:cNvPr id="0" name=""/>
        <dsp:cNvSpPr/>
      </dsp:nvSpPr>
      <dsp:spPr>
        <a:xfrm>
          <a:off x="347869" y="261014"/>
          <a:ext cx="632489" cy="63248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883FDD-2842-4E49-87E1-009417EEDE74}">
      <dsp:nvSpPr>
        <dsp:cNvPr id="0" name=""/>
        <dsp:cNvSpPr/>
      </dsp:nvSpPr>
      <dsp:spPr>
        <a:xfrm>
          <a:off x="1328227" y="2268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Identifying and tracking key federal funding opportunities </a:t>
          </a:r>
          <a:r>
            <a:rPr lang="en-US" sz="1600" b="1" kern="1200"/>
            <a:t>and Massachusetts applications through the State Clearinghouse</a:t>
          </a:r>
          <a:endParaRPr lang="en-US" sz="1600" kern="1200"/>
        </a:p>
      </dsp:txBody>
      <dsp:txXfrm>
        <a:off x="1328227" y="2268"/>
        <a:ext cx="5914790" cy="1149980"/>
      </dsp:txXfrm>
    </dsp:sp>
    <dsp:sp modelId="{B8DB16D8-4226-454D-9A09-BB040DD2E36C}">
      <dsp:nvSpPr>
        <dsp:cNvPr id="0" name=""/>
        <dsp:cNvSpPr/>
      </dsp:nvSpPr>
      <dsp:spPr>
        <a:xfrm>
          <a:off x="0" y="1439744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4C5C8F-9437-4747-BE47-8A248FCF0411}">
      <dsp:nvSpPr>
        <dsp:cNvPr id="0" name=""/>
        <dsp:cNvSpPr/>
      </dsp:nvSpPr>
      <dsp:spPr>
        <a:xfrm>
          <a:off x="347869" y="1698490"/>
          <a:ext cx="632489" cy="63248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CCC648-1946-4024-BC72-12F157BF1C01}">
      <dsp:nvSpPr>
        <dsp:cNvPr id="0" name=""/>
        <dsp:cNvSpPr/>
      </dsp:nvSpPr>
      <dsp:spPr>
        <a:xfrm>
          <a:off x="1328227" y="1439744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Leading bi-weekly meetings of the interagency Advisory Council on Federal Funds and Infrastructure</a:t>
          </a:r>
          <a:endParaRPr lang="en-US" sz="1600" b="1" kern="1200"/>
        </a:p>
      </dsp:txBody>
      <dsp:txXfrm>
        <a:off x="1328227" y="1439744"/>
        <a:ext cx="5914790" cy="1149980"/>
      </dsp:txXfrm>
    </dsp:sp>
    <dsp:sp modelId="{2424DD3C-D8C4-4E3B-93BA-991BC7EAB6F2}">
      <dsp:nvSpPr>
        <dsp:cNvPr id="0" name=""/>
        <dsp:cNvSpPr/>
      </dsp:nvSpPr>
      <dsp:spPr>
        <a:xfrm>
          <a:off x="0" y="2877220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FEB0C4-30B7-4493-ACBB-424B6B9D5B6B}">
      <dsp:nvSpPr>
        <dsp:cNvPr id="0" name=""/>
        <dsp:cNvSpPr/>
      </dsp:nvSpPr>
      <dsp:spPr>
        <a:xfrm>
          <a:off x="347869" y="3135965"/>
          <a:ext cx="632489" cy="63248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99E753-F35B-4A24-8E1C-78892999158A}">
      <dsp:nvSpPr>
        <dsp:cNvPr id="0" name=""/>
        <dsp:cNvSpPr/>
      </dsp:nvSpPr>
      <dsp:spPr>
        <a:xfrm>
          <a:off x="1328227" y="2877220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Leading the Massachusetts Federal Funds Partnership and other meetings to support local governments in their applications for federal funding</a:t>
          </a:r>
        </a:p>
      </dsp:txBody>
      <dsp:txXfrm>
        <a:off x="1328227" y="2877220"/>
        <a:ext cx="5914790" cy="1149980"/>
      </dsp:txXfrm>
    </dsp:sp>
    <dsp:sp modelId="{58117011-8D5D-4747-80CD-8D2788FAFE28}">
      <dsp:nvSpPr>
        <dsp:cNvPr id="0" name=""/>
        <dsp:cNvSpPr/>
      </dsp:nvSpPr>
      <dsp:spPr>
        <a:xfrm>
          <a:off x="0" y="4314695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7B136C-B410-4D35-8B00-A9E44608E48D}">
      <dsp:nvSpPr>
        <dsp:cNvPr id="0" name=""/>
        <dsp:cNvSpPr/>
      </dsp:nvSpPr>
      <dsp:spPr>
        <a:xfrm>
          <a:off x="347869" y="4573441"/>
          <a:ext cx="632489" cy="63248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C0067D-B60D-46D0-8AC8-C58B64D277FA}">
      <dsp:nvSpPr>
        <dsp:cNvPr id="0" name=""/>
        <dsp:cNvSpPr/>
      </dsp:nvSpPr>
      <dsp:spPr>
        <a:xfrm>
          <a:off x="1328227" y="4314695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Implementing the Federal Match legislation (</a:t>
          </a:r>
          <a:r>
            <a:rPr lang="en-US" sz="1600" b="1" i="1" kern="1200"/>
            <a:t>Chapter 214 of the Acts of 2024)</a:t>
          </a:r>
          <a:endParaRPr lang="en-US" sz="1600" b="1" kern="1200"/>
        </a:p>
      </dsp:txBody>
      <dsp:txXfrm>
        <a:off x="1328227" y="4314695"/>
        <a:ext cx="5914790" cy="11499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7011D2-A5AF-4794-BD43-A7FCA5BAE9A9}">
      <dsp:nvSpPr>
        <dsp:cNvPr id="0" name=""/>
        <dsp:cNvSpPr/>
      </dsp:nvSpPr>
      <dsp:spPr>
        <a:xfrm>
          <a:off x="2459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Low-income Communities</a:t>
          </a:r>
        </a:p>
      </dsp:txBody>
      <dsp:txXfrm>
        <a:off x="2459" y="0"/>
        <a:ext cx="2413556" cy="1391811"/>
      </dsp:txXfrm>
    </dsp:sp>
    <dsp:sp modelId="{D60B30AA-8DA9-4EC1-A504-63461038DD05}">
      <dsp:nvSpPr>
        <dsp:cNvPr id="0" name=""/>
        <dsp:cNvSpPr/>
      </dsp:nvSpPr>
      <dsp:spPr>
        <a:xfrm>
          <a:off x="243815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-20% bonus</a:t>
          </a:r>
        </a:p>
      </dsp:txBody>
      <dsp:txXfrm>
        <a:off x="270510" y="1418903"/>
        <a:ext cx="1877455" cy="858060"/>
      </dsp:txXfrm>
    </dsp:sp>
    <dsp:sp modelId="{0E2737C2-F58F-4E12-81B0-5C364DC5D99F}">
      <dsp:nvSpPr>
        <dsp:cNvPr id="0" name=""/>
        <dsp:cNvSpPr/>
      </dsp:nvSpPr>
      <dsp:spPr>
        <a:xfrm>
          <a:off x="243815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 if project is in a low-income community with extra bonus if residential or econ benefit project</a:t>
          </a:r>
        </a:p>
      </dsp:txBody>
      <dsp:txXfrm>
        <a:off x="270510" y="2470577"/>
        <a:ext cx="1877455" cy="858060"/>
      </dsp:txXfrm>
    </dsp:sp>
    <dsp:sp modelId="{D984233B-EA55-4177-AE48-52FFF4092240}">
      <dsp:nvSpPr>
        <dsp:cNvPr id="0" name=""/>
        <dsp:cNvSpPr/>
      </dsp:nvSpPr>
      <dsp:spPr>
        <a:xfrm>
          <a:off x="243815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ITC only </a:t>
          </a:r>
        </a:p>
      </dsp:txBody>
      <dsp:txXfrm>
        <a:off x="270510" y="3522251"/>
        <a:ext cx="1877455" cy="858060"/>
      </dsp:txXfrm>
    </dsp:sp>
    <dsp:sp modelId="{1095A64F-8AE9-4193-81AE-C1EF826663D0}">
      <dsp:nvSpPr>
        <dsp:cNvPr id="0" name=""/>
        <dsp:cNvSpPr/>
      </dsp:nvSpPr>
      <dsp:spPr>
        <a:xfrm>
          <a:off x="2597033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Energy Communities</a:t>
          </a:r>
        </a:p>
      </dsp:txBody>
      <dsp:txXfrm>
        <a:off x="2597033" y="0"/>
        <a:ext cx="2413556" cy="1391811"/>
      </dsp:txXfrm>
    </dsp:sp>
    <dsp:sp modelId="{BEFB6ABF-F2E5-440F-8E1F-E01E0A414B2C}">
      <dsp:nvSpPr>
        <dsp:cNvPr id="0" name=""/>
        <dsp:cNvSpPr/>
      </dsp:nvSpPr>
      <dsp:spPr>
        <a:xfrm>
          <a:off x="2838388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% bonus</a:t>
          </a:r>
        </a:p>
      </dsp:txBody>
      <dsp:txXfrm>
        <a:off x="2865083" y="1418903"/>
        <a:ext cx="1877455" cy="858060"/>
      </dsp:txXfrm>
    </dsp:sp>
    <dsp:sp modelId="{FF4B2263-CDDA-405F-8CFB-87F487FFF744}">
      <dsp:nvSpPr>
        <dsp:cNvPr id="0" name=""/>
        <dsp:cNvSpPr/>
      </dsp:nvSpPr>
      <dsp:spPr>
        <a:xfrm>
          <a:off x="2838388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project is in historical “energy community” (i.e., closed coal mine, some brownfield sites)</a:t>
          </a:r>
        </a:p>
      </dsp:txBody>
      <dsp:txXfrm>
        <a:off x="2865083" y="2470577"/>
        <a:ext cx="1877455" cy="858060"/>
      </dsp:txXfrm>
    </dsp:sp>
    <dsp:sp modelId="{E23E4B55-80CC-4507-A6DA-A3EE92F71D2B}">
      <dsp:nvSpPr>
        <dsp:cNvPr id="0" name=""/>
        <dsp:cNvSpPr/>
      </dsp:nvSpPr>
      <dsp:spPr>
        <a:xfrm>
          <a:off x="2838388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</a:t>
          </a:r>
        </a:p>
      </dsp:txBody>
      <dsp:txXfrm>
        <a:off x="2865083" y="3522251"/>
        <a:ext cx="1877455" cy="858060"/>
      </dsp:txXfrm>
    </dsp:sp>
    <dsp:sp modelId="{CA438F45-983A-4572-94FF-A2A8EFD54C3B}">
      <dsp:nvSpPr>
        <dsp:cNvPr id="0" name=""/>
        <dsp:cNvSpPr/>
      </dsp:nvSpPr>
      <dsp:spPr>
        <a:xfrm>
          <a:off x="5191606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Prevailing Wage and Apprenticeship**</a:t>
          </a:r>
        </a:p>
      </dsp:txBody>
      <dsp:txXfrm>
        <a:off x="5191606" y="0"/>
        <a:ext cx="2413556" cy="1391811"/>
      </dsp:txXfrm>
    </dsp:sp>
    <dsp:sp modelId="{6FA3D22E-DCC4-42D2-B66E-F0FED99AFA68}">
      <dsp:nvSpPr>
        <dsp:cNvPr id="0" name=""/>
        <dsp:cNvSpPr/>
      </dsp:nvSpPr>
      <dsp:spPr>
        <a:xfrm>
          <a:off x="5432962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5x bonus</a:t>
          </a:r>
        </a:p>
      </dsp:txBody>
      <dsp:txXfrm>
        <a:off x="5459657" y="1418903"/>
        <a:ext cx="1877455" cy="858060"/>
      </dsp:txXfrm>
    </dsp:sp>
    <dsp:sp modelId="{268D3A7A-F93C-4C57-AF69-B433BE269048}">
      <dsp:nvSpPr>
        <dsp:cNvPr id="0" name=""/>
        <dsp:cNvSpPr/>
      </dsp:nvSpPr>
      <dsp:spPr>
        <a:xfrm>
          <a:off x="5432962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</a:t>
          </a:r>
          <a:r>
            <a:rPr lang="en-US" sz="1200" kern="1200" err="1"/>
            <a:t>reqs</a:t>
          </a:r>
          <a:r>
            <a:rPr lang="en-US" sz="1200" kern="1200"/>
            <a:t> for prevailing wages and registered apprentices are met</a:t>
          </a:r>
        </a:p>
      </dsp:txBody>
      <dsp:txXfrm>
        <a:off x="5459657" y="2470577"/>
        <a:ext cx="1877455" cy="858060"/>
      </dsp:txXfrm>
    </dsp:sp>
    <dsp:sp modelId="{426FAD5B-1944-40CE-8BE6-D33BE0ED480A}">
      <dsp:nvSpPr>
        <dsp:cNvPr id="0" name=""/>
        <dsp:cNvSpPr/>
      </dsp:nvSpPr>
      <dsp:spPr>
        <a:xfrm>
          <a:off x="5432962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</a:t>
          </a:r>
        </a:p>
      </dsp:txBody>
      <dsp:txXfrm>
        <a:off x="5459657" y="3522251"/>
        <a:ext cx="1877455" cy="858060"/>
      </dsp:txXfrm>
    </dsp:sp>
    <dsp:sp modelId="{F592FFF9-DBA5-41D3-8C7C-EAE434B0ECE5}">
      <dsp:nvSpPr>
        <dsp:cNvPr id="0" name=""/>
        <dsp:cNvSpPr/>
      </dsp:nvSpPr>
      <dsp:spPr>
        <a:xfrm>
          <a:off x="7786180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Domestic Content* **</a:t>
          </a:r>
        </a:p>
      </dsp:txBody>
      <dsp:txXfrm>
        <a:off x="7786180" y="0"/>
        <a:ext cx="2413556" cy="1391811"/>
      </dsp:txXfrm>
    </dsp:sp>
    <dsp:sp modelId="{8EC8B0CB-96DB-4B40-B6E6-EB83F0414DE9}">
      <dsp:nvSpPr>
        <dsp:cNvPr id="0" name=""/>
        <dsp:cNvSpPr/>
      </dsp:nvSpPr>
      <dsp:spPr>
        <a:xfrm>
          <a:off x="8027536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% bonus</a:t>
          </a:r>
        </a:p>
      </dsp:txBody>
      <dsp:txXfrm>
        <a:off x="8054231" y="1418903"/>
        <a:ext cx="1877455" cy="858060"/>
      </dsp:txXfrm>
    </dsp:sp>
    <dsp:sp modelId="{DB57D0CC-B6A0-4098-9243-E7B618F0F2F1}">
      <dsp:nvSpPr>
        <dsp:cNvPr id="0" name=""/>
        <dsp:cNvSpPr/>
      </dsp:nvSpPr>
      <dsp:spPr>
        <a:xfrm>
          <a:off x="8027536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100% of applicable steel and iron and an applicable share of ‘manufactured products” produced in U.S.</a:t>
          </a:r>
        </a:p>
      </dsp:txBody>
      <dsp:txXfrm>
        <a:off x="8054231" y="2470577"/>
        <a:ext cx="1877455" cy="858060"/>
      </dsp:txXfrm>
    </dsp:sp>
    <dsp:sp modelId="{A781167B-64A6-4277-88AD-D6A8881C8FA9}">
      <dsp:nvSpPr>
        <dsp:cNvPr id="0" name=""/>
        <dsp:cNvSpPr/>
      </dsp:nvSpPr>
      <dsp:spPr>
        <a:xfrm>
          <a:off x="8027536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 </a:t>
          </a:r>
        </a:p>
      </dsp:txBody>
      <dsp:txXfrm>
        <a:off x="8054231" y="3522251"/>
        <a:ext cx="1877455" cy="8580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24FDBF-6CCC-47F3-BFEE-FAFC35AFC15A}">
      <dsp:nvSpPr>
        <dsp:cNvPr id="0" name=""/>
        <dsp:cNvSpPr/>
      </dsp:nvSpPr>
      <dsp:spPr>
        <a:xfrm>
          <a:off x="0" y="263629"/>
          <a:ext cx="6440932" cy="11513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Match grants to project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Help look for partners/co-applicants (CBOs, other states, state agencies, universities, etc.)</a:t>
          </a:r>
        </a:p>
      </dsp:txBody>
      <dsp:txXfrm>
        <a:off x="0" y="263629"/>
        <a:ext cx="6440932" cy="1151325"/>
      </dsp:txXfrm>
    </dsp:sp>
    <dsp:sp modelId="{49D41C6C-F171-47D2-88B7-4DB4A378454E}">
      <dsp:nvSpPr>
        <dsp:cNvPr id="0" name=""/>
        <dsp:cNvSpPr/>
      </dsp:nvSpPr>
      <dsp:spPr>
        <a:xfrm>
          <a:off x="322046" y="12709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Looking for grants</a:t>
          </a:r>
        </a:p>
      </dsp:txBody>
      <dsp:txXfrm>
        <a:off x="346544" y="37207"/>
        <a:ext cx="4459656" cy="452844"/>
      </dsp:txXfrm>
    </dsp:sp>
    <dsp:sp modelId="{AC360656-5180-4A8C-B968-F5E1DF01588C}">
      <dsp:nvSpPr>
        <dsp:cNvPr id="0" name=""/>
        <dsp:cNvSpPr/>
      </dsp:nvSpPr>
      <dsp:spPr>
        <a:xfrm>
          <a:off x="0" y="1757674"/>
          <a:ext cx="6440932" cy="9371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Advice on labor standards, DEI , climate, language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Review application</a:t>
          </a:r>
        </a:p>
      </dsp:txBody>
      <dsp:txXfrm>
        <a:off x="0" y="1757674"/>
        <a:ext cx="6440932" cy="937125"/>
      </dsp:txXfrm>
    </dsp:sp>
    <dsp:sp modelId="{D2F30F6F-C273-415D-913B-76942B2A84A9}">
      <dsp:nvSpPr>
        <dsp:cNvPr id="0" name=""/>
        <dsp:cNvSpPr/>
      </dsp:nvSpPr>
      <dsp:spPr>
        <a:xfrm>
          <a:off x="322046" y="1506754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eveloping application</a:t>
          </a:r>
        </a:p>
      </dsp:txBody>
      <dsp:txXfrm>
        <a:off x="346544" y="1531252"/>
        <a:ext cx="4459656" cy="452844"/>
      </dsp:txXfrm>
    </dsp:sp>
    <dsp:sp modelId="{329BB4AB-C9F0-4629-8902-58BF17357DBE}">
      <dsp:nvSpPr>
        <dsp:cNvPr id="0" name=""/>
        <dsp:cNvSpPr/>
      </dsp:nvSpPr>
      <dsp:spPr>
        <a:xfrm>
          <a:off x="0" y="3037519"/>
          <a:ext cx="6440932" cy="12048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Letters of support from the state or </a:t>
          </a:r>
          <a:r>
            <a:rPr lang="en-US" sz="1700" kern="1200" err="1"/>
            <a:t>congressionals</a:t>
          </a: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Calls and in-person advocacy when FFIO is in DC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Get award dates/application status</a:t>
          </a:r>
        </a:p>
      </dsp:txBody>
      <dsp:txXfrm>
        <a:off x="0" y="3037519"/>
        <a:ext cx="6440932" cy="1204875"/>
      </dsp:txXfrm>
    </dsp:sp>
    <dsp:sp modelId="{12DE117D-80F9-462C-9C3C-AF04E8707F03}">
      <dsp:nvSpPr>
        <dsp:cNvPr id="0" name=""/>
        <dsp:cNvSpPr/>
      </dsp:nvSpPr>
      <dsp:spPr>
        <a:xfrm>
          <a:off x="322046" y="2786599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Advocating for submitted applications</a:t>
          </a:r>
        </a:p>
      </dsp:txBody>
      <dsp:txXfrm>
        <a:off x="346544" y="2811097"/>
        <a:ext cx="4459656" cy="4528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352</cdr:x>
      <cdr:y>0.1911</cdr:y>
    </cdr:from>
    <cdr:to>
      <cdr:x>0.90163</cdr:x>
      <cdr:y>0.4116</cdr:y>
    </cdr:to>
    <cdr:sp macro="" textlink="">
      <cdr:nvSpPr>
        <cdr:cNvPr id="2" name="Right Brace 1">
          <a:extLst xmlns:a="http://schemas.openxmlformats.org/drawingml/2006/main">
            <a:ext uri="{FF2B5EF4-FFF2-40B4-BE49-F238E27FC236}">
              <a16:creationId xmlns:a16="http://schemas.microsoft.com/office/drawing/2014/main" id="{83E17B8D-7332-F5DB-816C-D14F935F967F}"/>
            </a:ext>
          </a:extLst>
        </cdr:cNvPr>
        <cdr:cNvSpPr/>
      </cdr:nvSpPr>
      <cdr:spPr>
        <a:xfrm xmlns:a="http://schemas.openxmlformats.org/drawingml/2006/main">
          <a:off x="6001458" y="970149"/>
          <a:ext cx="338254" cy="1119331"/>
        </a:xfrm>
        <a:prstGeom xmlns:a="http://schemas.openxmlformats.org/drawingml/2006/main" prst="rightBrace">
          <a:avLst/>
        </a:prstGeom>
        <a:ln xmlns:a="http://schemas.openxmlformats.org/drawingml/2006/main" w="571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1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r">
              <a:defRPr sz="1200"/>
            </a:lvl1pPr>
          </a:lstStyle>
          <a:p>
            <a:fld id="{AE58DB52-B048-4E1E-9349-B75ADA701E25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3" tIns="46657" rIns="93313" bIns="4665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13" tIns="46657" rIns="93313" bIns="466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1"/>
            <a:ext cx="3043343" cy="467070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1"/>
            <a:ext cx="3043343" cy="467070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r">
              <a:defRPr sz="1200"/>
            </a:lvl1pPr>
          </a:lstStyle>
          <a:p>
            <a:fld id="{FEE6CF9F-4738-4A07-BBF7-C2ACB526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581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33775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7149A5-8D8B-4454-B21B-519D820E4A9C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686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AF56AD-D948-23DA-3AAB-BA30A731D1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1983B8-8BEF-BF5A-F0BC-B1A4BA22BB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0B0FD7-D190-5857-FB9D-08987C6DDB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1A7A77-98FA-7BB9-BA6F-8E2560FD72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52205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‹#›</a:t>
            </a: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7697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6CF9F-4738-4A07-BBF7-C2ACB526C4B4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159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2217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628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A56C78-1AD0-0416-3C26-4CBDC5577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01EAA-FDD4-8937-D6F7-F746950047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D10B2D-F1FE-8937-A8EB-29431CFB23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8A524B-973C-8ADA-337A-DAC6567B65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506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8E60A-87BC-FF47-31F3-89B6C6928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51DA7C-DB7F-6BB5-E63C-D4E59ADAF4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F086B8-06E9-4ECE-BAFF-08157CB60E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E51C04-7FE5-A086-B7EA-EBCDAEA925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79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ADA9AC-A038-B40E-91D7-A29EEA323E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CB25C2-92C2-CA80-8B74-2C77322C87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868D5D-3076-826D-4175-CBC92DE8AD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6E914F-6E12-AFA8-445F-ACC090EDB5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1236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481B8E-7F9A-1A2E-E1EE-90DD775A3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ABF3E7-7B48-42AF-179E-BABC84743E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8758AA-630E-38DB-FF69-921D314C97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102C8B-0203-330D-541E-782F93CF55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8377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6671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24F182-57FA-EBC0-856E-18A527A7D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0ACD36-7746-867D-E57D-4A5105B258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6388A6-04C5-DA4A-70A9-287BD2279A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FDE323-34FD-34FC-EAF2-0306FBC77F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3406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209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720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75050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8192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418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286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0108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905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8252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1221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0048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7435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9050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8192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8669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56701B9-59D9-241D-F7F5-1E8A558B1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DAF467DB-6942-0500-3F1B-E23DDEE2AC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9707" y="2949900"/>
            <a:ext cx="2810293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400" b="0" i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ick to edit Master title style</a:t>
            </a:r>
            <a:endParaRPr sz="3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3178C474-2CA3-1DB5-D6F3-B33FDD9774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38222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47300" cy="744221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ECF9B3F-75C0-8F6B-AEA8-DD20C31345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6962396F-9465-BEA5-7DBF-E925965D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lick to edit Master text styles</a:t>
            </a:r>
          </a:p>
          <a:p>
            <a:pPr marL="241300" marR="5080" lvl="1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econd level</a:t>
            </a:r>
          </a:p>
          <a:p>
            <a:pPr marL="241300" marR="5080" lvl="2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hird level</a:t>
            </a:r>
          </a:p>
          <a:p>
            <a:pPr marL="241300" marR="5080" lvl="3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urth level</a:t>
            </a:r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2DD23F18-BACB-51E5-D986-AF468DA0B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bg object 18">
            <a:extLst>
              <a:ext uri="{FF2B5EF4-FFF2-40B4-BE49-F238E27FC236}">
                <a16:creationId xmlns:a16="http://schemas.microsoft.com/office/drawing/2014/main" id="{C0C25CA3-2238-AC3C-CC80-142EBA7CB7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40094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g object 16">
            <a:extLst>
              <a:ext uri="{FF2B5EF4-FFF2-40B4-BE49-F238E27FC236}">
                <a16:creationId xmlns:a16="http://schemas.microsoft.com/office/drawing/2014/main" id="{2AC8AB4D-6CCA-9C10-4439-1845DC24E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029199" y="228600"/>
            <a:ext cx="6931659" cy="6400800"/>
          </a:xfrm>
          <a:custGeom>
            <a:avLst/>
            <a:gdLst/>
            <a:ahLst/>
            <a:cxnLst/>
            <a:rect l="l" t="t" r="r" b="b"/>
            <a:pathLst>
              <a:path w="6931659" h="6400800">
                <a:moveTo>
                  <a:pt x="6931152" y="0"/>
                </a:moveTo>
                <a:lnTo>
                  <a:pt x="0" y="0"/>
                </a:lnTo>
                <a:lnTo>
                  <a:pt x="0" y="6400800"/>
                </a:lnTo>
                <a:lnTo>
                  <a:pt x="6931152" y="6400800"/>
                </a:lnTo>
                <a:lnTo>
                  <a:pt x="69311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17">
            <a:extLst>
              <a:ext uri="{FF2B5EF4-FFF2-40B4-BE49-F238E27FC236}">
                <a16:creationId xmlns:a16="http://schemas.microsoft.com/office/drawing/2014/main" id="{306F9929-309B-AE0A-0801-DEA2FA878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94859" y="228600"/>
            <a:ext cx="219710" cy="6400800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18">
            <a:extLst>
              <a:ext uri="{FF2B5EF4-FFF2-40B4-BE49-F238E27FC236}">
                <a16:creationId xmlns:a16="http://schemas.microsoft.com/office/drawing/2014/main" id="{013F3A6A-D126-C795-AE9C-EDBE980AC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13299" y="228600"/>
            <a:ext cx="219710" cy="6400800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">
            <a:extLst>
              <a:ext uri="{FF2B5EF4-FFF2-40B4-BE49-F238E27FC236}">
                <a16:creationId xmlns:a16="http://schemas.microsoft.com/office/drawing/2014/main" id="{DCEC600F-3810-77DA-CB9B-79BE090A57F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44500" y="2787736"/>
            <a:ext cx="2280920" cy="121379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10922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ts val="4300"/>
              </a:lnSpc>
              <a:spcBef>
                <a:spcPts val="8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-70" normalizeH="0" baseline="0" noProof="0">
                <a:ln>
                  <a:noFill/>
                </a:ln>
                <a:solidFill>
                  <a:srgbClr val="005295"/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</a:rPr>
              <a:t>Click to edit Master title style</a:t>
            </a:r>
            <a:endParaRPr kumimoji="0" lang="en-US" sz="3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0251042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99370" cy="707886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r>
              <a:rPr lang="en-US" sz="28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28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28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28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28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2800" i="0" spc="-40">
                <a:latin typeface="Poppins" pitchFamily="2" charset="77"/>
                <a:cs typeface="Poppins" pitchFamily="2" charset="77"/>
              </a:rPr>
            </a:br>
            <a:r>
              <a:rPr lang="en-US" sz="18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bg object 17">
            <a:extLst>
              <a:ext uri="{FF2B5EF4-FFF2-40B4-BE49-F238E27FC236}">
                <a16:creationId xmlns:a16="http://schemas.microsoft.com/office/drawing/2014/main" id="{E9FD20BA-76F9-B031-0B79-3F63B4ACF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bg object 18">
            <a:extLst>
              <a:ext uri="{FF2B5EF4-FFF2-40B4-BE49-F238E27FC236}">
                <a16:creationId xmlns:a16="http://schemas.microsoft.com/office/drawing/2014/main" id="{59C7F3AD-CABD-3374-7597-CE359F051C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7" descr="MassDOT Logo">
            <a:extLst>
              <a:ext uri="{FF2B5EF4-FFF2-40B4-BE49-F238E27FC236}">
                <a16:creationId xmlns:a16="http://schemas.microsoft.com/office/drawing/2014/main" id="{E83F4B9E-CC08-E107-C5C1-CC2F1C2A9E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  <p:sp>
        <p:nvSpPr>
          <p:cNvPr id="3" name="bg object 17">
            <a:extLst>
              <a:ext uri="{FF2B5EF4-FFF2-40B4-BE49-F238E27FC236}">
                <a16:creationId xmlns:a16="http://schemas.microsoft.com/office/drawing/2014/main" id="{C67C198E-4ABA-27D9-DA23-7DB3AF5FF0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E436AAC6-AF63-E7BB-67AD-452A82281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object 7" descr="MassDOT Logo">
            <a:extLst>
              <a:ext uri="{FF2B5EF4-FFF2-40B4-BE49-F238E27FC236}">
                <a16:creationId xmlns:a16="http://schemas.microsoft.com/office/drawing/2014/main" id="{AD9E2D9A-8E05-A8B3-F335-714E33A2A28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7510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>
            <a:extLst>
              <a:ext uri="{FF2B5EF4-FFF2-40B4-BE49-F238E27FC236}">
                <a16:creationId xmlns:a16="http://schemas.microsoft.com/office/drawing/2014/main" id="{6880C750-AB3C-9851-A6E3-E0E2F0194127}"/>
              </a:ext>
            </a:extLst>
          </p:cNvPr>
          <p:cNvSpPr txBox="1">
            <a:spLocks/>
          </p:cNvSpPr>
          <p:nvPr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Holder 5">
            <a:extLst>
              <a:ext uri="{FF2B5EF4-FFF2-40B4-BE49-F238E27FC236}">
                <a16:creationId xmlns:a16="http://schemas.microsoft.com/office/drawing/2014/main" id="{1496C1EB-2919-0530-D2C7-0A64CFBE92E1}"/>
              </a:ext>
            </a:extLst>
          </p:cNvPr>
          <p:cNvSpPr txBox="1">
            <a:spLocks/>
          </p:cNvSpPr>
          <p:nvPr userDrawn="1"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543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56701B9-59D9-241D-F7F5-1E8A558B1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DAF467DB-6942-0500-3F1B-E23DDEE2AC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9707" y="2949900"/>
            <a:ext cx="2810293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400" b="0" i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ivider </a:t>
            </a:r>
            <a:r>
              <a:rPr sz="3400" b="0" i="0" spc="-2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age</a:t>
            </a:r>
            <a:endParaRPr sz="3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0300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47300" cy="744221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ECF9B3F-75C0-8F6B-AEA8-DD20C31345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6962396F-9465-BEA5-7DBF-E925965D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r accessibility and usability, use Poppins font with the smallest size being 14pt font on all slides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member to run the accessibility checker! It’s built into all Microsoft products. To run, go to the ribbon and select Review &gt; Check Accessibility. OR go to File &gt; Info &gt; Inspect Presentation drop down &gt; Select Check Accessibility.  It will show the results in a pane on the right side. By selecting each item listed, it will jump you to the issue. There is information about the error and support for fixing it. 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lways start your presentation with a new template. Do not reuse a previous presentation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ke sure each slide has a unique title. Use ‘Part 1’ and ‘Part 2’ if you have more than one slide for the same topic.</a:t>
            </a:r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2DD23F18-BACB-51E5-D986-AF468DA0B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59321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0079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>
            <a:extLst>
              <a:ext uri="{FF2B5EF4-FFF2-40B4-BE49-F238E27FC236}">
                <a16:creationId xmlns:a16="http://schemas.microsoft.com/office/drawing/2014/main" id="{6880C750-AB3C-9851-A6E3-E0E2F0194127}"/>
              </a:ext>
            </a:extLst>
          </p:cNvPr>
          <p:cNvSpPr txBox="1">
            <a:spLocks/>
          </p:cNvSpPr>
          <p:nvPr userDrawn="1"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676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1" y="1584718"/>
            <a:ext cx="10515972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2715AF96-5ECE-47C0-8CE4-C5099EE4A9B9}" type="datetime1">
              <a:rPr lang="en-US" smtClean="0"/>
              <a:t>6/6/202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823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1" y="1584718"/>
            <a:ext cx="10515972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2715AF96-5ECE-47C0-8CE4-C5099EE4A9B9}" type="datetime1">
              <a:rPr lang="en-US" smtClean="0"/>
              <a:t>6/6/202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1211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60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7694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6344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7677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6573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4170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2239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305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4064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5645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8132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7591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7502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4868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60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93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1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7949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85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03961" y="145409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947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5370FF-0A1D-4D9D-B0A6-CA95F96254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531EC1-2C56-4B4A-A8D7-FCD3730261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F44652-4E35-4E4A-BF52-E63601E96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D2F837-F82F-42E1-B813-91A69D328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F2D4CB-DD28-4844-A5FF-35B3C99C4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440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BFF96-AC90-4C9F-8929-79A589BFA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C2004E-D3B8-4F24-AC8A-7F4D06E1B7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BC8879-7327-455F-BE8C-97D4A5132F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57A36C-EB33-499C-850C-CEC4AA708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19F4C0-71A9-4034-A2EA-11A04FCA2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4433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38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4EA57-D481-48E0-8E9A-1E33DC23E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DD082E-66BB-4D0E-B83B-7425B35F16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837B58-F424-449C-9ED7-5ECBE00605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6F4206-A1AE-4EDB-AAD8-AA8566084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BB4A70-FC0C-49F7-8E0F-5FF0ACB4D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6885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21721-72E6-49DD-A85A-BFE9B9AB6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59CAAF-1B97-411F-8C4A-FD0CA37B3F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B26267-FBAB-465F-9265-CA4D9E48D9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522FB8-EEB5-4DD1-BCE8-70C3A1158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C6361B-C239-4264-89C1-A062811C09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21D38B-1D95-4BAA-86DC-341D1BEEF8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659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D3208F-49E5-474B-B495-EA7F924A1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5C34FA-0A94-4070-8A5E-76B9BC7990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A6EE51-AA05-468E-98BC-7587C3DC76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5D9A90-30A4-4151-AE07-C86AF59203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9939DD7-23A9-464F-9090-3FEE1E6E959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882DE8-05AC-4F29-A9E3-8625B07B6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3D0D8B-4737-42F9-B0ED-3191895A8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39B5B1-1AD8-4959-91E0-73295DBF1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0684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14D2-9A10-4216-B1B7-7689DF19E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7220B5-FE4A-4715-B411-8B3F98A9CC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120C7A-E7AD-4ABA-8C7D-58842CD9C6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C8838F-8B15-428C-926C-EC09DD846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923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6817C0-02F0-4D61-93EA-C91D3A023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DEE044-5108-4A31-BBFC-1643976EE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2FE9FF-78FD-406A-8681-5D9999F10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22910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455EFD-2B98-44AD-9235-8C03DF078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D4FBBA-1A0A-4496-8113-84E93E1E48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F07A8E-60D9-4043-94CA-0337EE070F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C352BC-2566-4A45-906E-A912EFD07F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EEB233-DB9E-4274-8508-A56A2317D3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183231-17F7-42CD-95CB-E13F9A782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9745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5DB403-16A2-44D1-AC7E-CA78EAEA2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5C8EBF-C170-47D6-8505-271679F29A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FAB944-F8DE-476E-AAC9-2B18294ADF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3576BC-31A8-437F-9212-19A0F67C0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7C9241-4F13-475A-A9F2-712F1790C2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6E7E4-43CE-4D2F-98E7-5C3DDE505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390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D897D-D391-49E3-ACB3-A78DA8934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118C4E-DAA3-4889-B853-E6CD3641C7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E4D4E-9C3A-40CF-B7A2-9968877E0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6643D0-09B1-4C3E-A2F5-9BA5A4460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F5DEBD-572E-465C-9EB8-94EFB17CD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7417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A0E0E14-29CB-4F79-B9B6-201E7F7EA0D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CD4E38F-13A9-4BAA-B90F-823111632C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9E0C71-1011-430D-BBF5-8BEB7F94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3AB19D-277E-4EFC-B96E-34D33B570A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327A2D-7DD6-4FDF-B841-9F9DD9CF5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402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6565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0647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172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30577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0466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060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7696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7450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9701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5851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4062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2953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50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650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364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C68F6BC1-8266-4D12-96DD-909D5278AA3D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436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131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856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r accessibility and usability, use Poppins font with the smallest size being 14pt font on all slides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member to run the accessibility checker! It’s built into all Microsoft products. To run, go to the ribbon and select Review &gt; Check Accessibility. OR go to File &gt; Info &gt; Inspect Presentation drop down &gt; Select Check Accessibility.  It will show the results in a pane on the right side. By selecting each item listed, it will jump you to the issue. There is information about the error and support for fixing it. 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lways start your presentation with a new template. Do not reuse a previous presentation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ke sure each slide has a unique title. Use ‘Part 1’ and ‘Part 2’ if you have more than one slide for the same topic.</a:t>
            </a:r>
          </a:p>
        </p:txBody>
      </p:sp>
      <p:sp>
        <p:nvSpPr>
          <p:cNvPr id="7" name="bg object 17">
            <a:extLst>
              <a:ext uri="{FF2B5EF4-FFF2-40B4-BE49-F238E27FC236}">
                <a16:creationId xmlns:a16="http://schemas.microsoft.com/office/drawing/2014/main" id="{5104C654-EB52-AD93-04AC-CB454DD5F3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bg object 18">
            <a:extLst>
              <a:ext uri="{FF2B5EF4-FFF2-40B4-BE49-F238E27FC236}">
                <a16:creationId xmlns:a16="http://schemas.microsoft.com/office/drawing/2014/main" id="{6154190B-DFD1-6D3D-E16D-4BA473BE13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7" descr="MassDOT Logo">
            <a:extLst>
              <a:ext uri="{FF2B5EF4-FFF2-40B4-BE49-F238E27FC236}">
                <a16:creationId xmlns:a16="http://schemas.microsoft.com/office/drawing/2014/main" id="{443BEFB0-71BD-4149-0537-7447E565E40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  <p:sp>
        <p:nvSpPr>
          <p:cNvPr id="4" name="bg object 17">
            <a:extLst>
              <a:ext uri="{FF2B5EF4-FFF2-40B4-BE49-F238E27FC236}">
                <a16:creationId xmlns:a16="http://schemas.microsoft.com/office/drawing/2014/main" id="{022259BC-4E9D-9794-E40F-3D7450B97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bg object 18">
            <a:extLst>
              <a:ext uri="{FF2B5EF4-FFF2-40B4-BE49-F238E27FC236}">
                <a16:creationId xmlns:a16="http://schemas.microsoft.com/office/drawing/2014/main" id="{BD615877-9B07-91D4-E99D-23592BF1C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object 7" descr="MassDOT Logo">
            <a:extLst>
              <a:ext uri="{FF2B5EF4-FFF2-40B4-BE49-F238E27FC236}">
                <a16:creationId xmlns:a16="http://schemas.microsoft.com/office/drawing/2014/main" id="{C9FCAC5B-52B7-F521-E34E-42BB4C5238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702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12700" indent="0" eaLnBrk="1" hangingPunct="1">
        <a:buNone/>
        <a:defRPr lang="en-US" sz="1600" b="0" baseline="0" dirty="0" smtClean="0"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281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  <p:sldLayoutId id="2147484060" r:id="rId6"/>
    <p:sldLayoutId id="2147484061" r:id="rId7"/>
    <p:sldLayoutId id="2147484062" r:id="rId8"/>
    <p:sldLayoutId id="2147484063" r:id="rId9"/>
    <p:sldLayoutId id="2147484064" r:id="rId10"/>
    <p:sldLayoutId id="2147484065" r:id="rId11"/>
    <p:sldLayoutId id="2147484066" r:id="rId12"/>
    <p:sldLayoutId id="2147484067" r:id="rId13"/>
    <p:sldLayoutId id="2147484068" r:id="rId14"/>
    <p:sldLayoutId id="2147484069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5">
                <a:lumMod val="89000"/>
              </a:schemeClr>
            </a:gs>
            <a:gs pos="17000">
              <a:schemeClr val="accent5">
                <a:lumMod val="89000"/>
              </a:schemeClr>
            </a:gs>
            <a:gs pos="34000">
              <a:schemeClr val="accent5">
                <a:lumMod val="75000"/>
              </a:schemeClr>
            </a:gs>
            <a:gs pos="97000">
              <a:schemeClr val="accent5">
                <a:lumMod val="70000"/>
              </a:schemeClr>
            </a:gs>
          </a:gsLst>
          <a:path path="circle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EAA07E-577B-429A-BA91-89EA5468B5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FF8E02-0C3E-4E80-BE84-AFB5B22AF8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78238-7E50-44F9-99F0-FE128D60C4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90E975-CA7D-43EA-8969-90955F6116BA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DAA5A-375D-414F-B1F9-60647B2625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C2E1BB-37C0-4B86-8316-33D72E3DBE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D166AB-D35F-45EC-B7BC-8A1709240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61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206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massachusetts-federal-grant-matching-funds" TargetMode="External"/><Relationship Id="rId2" Type="http://schemas.openxmlformats.org/officeDocument/2006/relationships/hyperlink" Target="https://forms.office.com/Pages/ResponsePage.aspx?id=Fh2GPrdIDkqYBowE2Bt7KhfzQgLHqeZApubrvc3icp5UNkVaMkQxUU4wSFQxNzNHRTFQWllZRk5DTS4u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fedfundsinfra@mass.gov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4" Type="http://schemas.openxmlformats.org/officeDocument/2006/relationships/image" Target="../media/image36.jpeg"/><Relationship Id="rId9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47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7.xml"/><Relationship Id="rId4" Type="http://schemas.openxmlformats.org/officeDocument/2006/relationships/hyperlink" Target="https://www.mass.gov/safe-routes-to-school" TargetMode="Externa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orgs/federal-funds-infrastructure-office" TargetMode="External"/><Relationship Id="rId3" Type="http://schemas.openxmlformats.org/officeDocument/2006/relationships/hyperlink" Target="mailto:Derek.Krevat@dot.state.ma.us" TargetMode="External"/><Relationship Id="rId7" Type="http://schemas.openxmlformats.org/officeDocument/2006/relationships/hyperlink" Target="https://www.grants.gov/search-grants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www.transportation.gov/dot-navigator" TargetMode="External"/><Relationship Id="rId5" Type="http://schemas.openxmlformats.org/officeDocument/2006/relationships/hyperlink" Target="mailto:MassDOTGrantCenral@DOT.state.ma.us" TargetMode="External"/><Relationship Id="rId4" Type="http://schemas.openxmlformats.org/officeDocument/2006/relationships/hyperlink" Target="mailto:Kristen.E.Rebelo@DOT.state.ma.us" TargetMode="Externa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rs.gov/credits-deductions/register-for-elective-payment-or-transfer-of-credits" TargetMode="External"/><Relationship Id="rId3" Type="http://schemas.openxmlformats.org/officeDocument/2006/relationships/hyperlink" Target="https://www.americanprogress.org/events/how-cities-can-take-advantage-of-direct-pay/" TargetMode="External"/><Relationship Id="rId7" Type="http://schemas.openxmlformats.org/officeDocument/2006/relationships/hyperlink" Target="https://docs.google.com/spreadsheets/d/1xAm8qMFhy-Dd1-kUbC3CwxmcM_hhXVDA/edit#gid=1414008680" TargetMode="External"/><Relationship Id="rId2" Type="http://schemas.openxmlformats.org/officeDocument/2006/relationships/hyperlink" Target="https://www.mass.gov/info-details/direct-pay-information---unpublished?auHash=PPZJItQdhuHKyBkFE7zh6bHNa5qCuAgyDQds2xN-p2o" TargetMode="External"/><Relationship Id="rId1" Type="http://schemas.openxmlformats.org/officeDocument/2006/relationships/slideLayout" Target="../slideLayouts/slideLayout47.xml"/><Relationship Id="rId6" Type="http://schemas.openxmlformats.org/officeDocument/2006/relationships/hyperlink" Target="https://docs.google.com/spreadsheets/d/1CVRK0u2hud4j6Fl50fVkNJRWxtrtjLZ6/edit#gid=943854338" TargetMode="External"/><Relationship Id="rId5" Type="http://schemas.openxmlformats.org/officeDocument/2006/relationships/hyperlink" Target="https://docs.google.com/spreadsheets/d/1-kzQNtIJ8VqlMpvNtyHYqDT1OUKs3S7U/edit#gid=1857506849" TargetMode="External"/><Relationship Id="rId4" Type="http://schemas.openxmlformats.org/officeDocument/2006/relationships/hyperlink" Target="https://www.lawyersforgoodgovernment.org/elective-pay-ira-tax-incentives" TargetMode="External"/><Relationship Id="rId9" Type="http://schemas.openxmlformats.org/officeDocument/2006/relationships/hyperlink" Target="https://www.irs.gov/credits-deductions/elective-pay-and-transferability-frequently-asked-questions-elective-pay" TargetMode="Externa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9.jpeg"/><Relationship Id="rId5" Type="http://schemas.openxmlformats.org/officeDocument/2006/relationships/image" Target="../media/image58.png"/><Relationship Id="rId4" Type="http://schemas.openxmlformats.org/officeDocument/2006/relationships/notesSlide" Target="../notesSlides/notesSlide1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hyperlink" Target="mailto:FedFundsInfra@mass.gov" TargetMode="External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71.svg"/><Relationship Id="rId3" Type="http://schemas.openxmlformats.org/officeDocument/2006/relationships/image" Target="../media/image61.svg"/><Relationship Id="rId7" Type="http://schemas.openxmlformats.org/officeDocument/2006/relationships/image" Target="../media/image65.svg"/><Relationship Id="rId12" Type="http://schemas.openxmlformats.org/officeDocument/2006/relationships/image" Target="../media/image70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png"/><Relationship Id="rId11" Type="http://schemas.openxmlformats.org/officeDocument/2006/relationships/image" Target="../media/image69.svg"/><Relationship Id="rId5" Type="http://schemas.openxmlformats.org/officeDocument/2006/relationships/image" Target="../media/image63.svg"/><Relationship Id="rId10" Type="http://schemas.openxmlformats.org/officeDocument/2006/relationships/image" Target="../media/image68.png"/><Relationship Id="rId4" Type="http://schemas.openxmlformats.org/officeDocument/2006/relationships/image" Target="../media/image62.png"/><Relationship Id="rId9" Type="http://schemas.openxmlformats.org/officeDocument/2006/relationships/image" Target="../media/image67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awyersforgoodgovernment.org/fund-protection-legal-guidance-request" TargetMode="External"/><Relationship Id="rId2" Type="http://schemas.openxmlformats.org/officeDocument/2006/relationships/hyperlink" Target="https://www.lawyersforgoodgovernment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environmentalprotectionnetwork.org/epn-newsletter/subscribe/" TargetMode="External"/><Relationship Id="rId5" Type="http://schemas.openxmlformats.org/officeDocument/2006/relationships/hyperlink" Target="https://www.environmentalprotectionnetwork.org/ffog-february-11-2025/" TargetMode="External"/><Relationship Id="rId4" Type="http://schemas.openxmlformats.org/officeDocument/2006/relationships/hyperlink" Target="https://www.environmentalprotectionnetwork.org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A540FAC9-3505-49ED-9B06-A0F8C14853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879B3CD-E329-42F5-B136-BA1F37EC0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05464" y="484632"/>
            <a:ext cx="7453538" cy="58809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387882-DF90-E287-A6BF-24F2BC095D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0096" y="977900"/>
            <a:ext cx="6539558" cy="3327734"/>
          </a:xfrm>
        </p:spPr>
        <p:txBody>
          <a:bodyPr anchor="b">
            <a:normAutofit/>
          </a:bodyPr>
          <a:lstStyle/>
          <a:p>
            <a:r>
              <a:rPr lang="en-US" sz="5400"/>
              <a:t>Federal funds &amp; infrastructure office </a:t>
            </a:r>
            <a:r>
              <a:rPr lang="en-US" sz="5400" b="1"/>
              <a:t>community tou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F96C16-BDB2-15EE-4778-FA5D2DB3A8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0096" y="4621235"/>
            <a:ext cx="6539558" cy="1225028"/>
          </a:xfrm>
        </p:spPr>
        <p:txBody>
          <a:bodyPr anchor="t">
            <a:normAutofit/>
          </a:bodyPr>
          <a:lstStyle/>
          <a:p>
            <a:pPr algn="r"/>
            <a:r>
              <a:rPr lang="en-US" sz="2000"/>
              <a:t>National Offshore Wind Institute, Bristol Community College New Bedford </a:t>
            </a:r>
          </a:p>
          <a:p>
            <a:pPr algn="r"/>
            <a:r>
              <a:rPr lang="en-US" sz="2000"/>
              <a:t>June 4, 2025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1B042EF-3024-4C57-B282-1B30607FB7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2158680" y="4476657"/>
            <a:ext cx="537097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EA0B4097-B645-43E0-A2B5-B8D688E745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484632"/>
            <a:ext cx="3584224" cy="588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4735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158559" y="643467"/>
            <a:ext cx="4229566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ssachusetts Federal match legislation 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4FF78-B142-84EA-0463-0190E96E2742}"/>
              </a:ext>
            </a:extLst>
          </p:cNvPr>
          <p:cNvSpPr txBox="1"/>
          <p:nvPr/>
        </p:nvSpPr>
        <p:spPr>
          <a:xfrm>
            <a:off x="4892386" y="735955"/>
            <a:ext cx="6918613" cy="59400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atching Fund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Unlocks up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750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matching funds for federal programs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ligible entities, including </a:t>
            </a:r>
            <a:r>
              <a:rPr lang="en-US">
                <a:solidFill>
                  <a:prstClr val="black"/>
                </a:solidFill>
                <a:latin typeface="Tw Cen MT" panose="020B0602020104020603"/>
              </a:rPr>
              <a:t>RPA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can now apply for match via the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FIO Match Request Form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CADE4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Learn more on the new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sachusetts Matching Funds Websit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CADE4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ther Financial Assistance for Municipalities</a:t>
            </a:r>
            <a:endParaRPr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Allocates up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$50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 in the form of grants, loans, or other financial assistance, which may be directed to municipalities.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 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Explore providing start-up capital for Direct Pay-eligible projects, etc.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echnical Assistance for Municipalities</a:t>
            </a:r>
            <a:endParaRPr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llocates up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12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technical support to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uni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grant application development and implementation assistance for successful awards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Leverage existing municipal outreach (partnership meetings, upcoming community tour, etc.) to understand municipal needs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3385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210312" y="643467"/>
            <a:ext cx="4105656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tching funds process 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4FF78-B142-84EA-0463-0190E96E2742}"/>
              </a:ext>
            </a:extLst>
          </p:cNvPr>
          <p:cNvSpPr txBox="1"/>
          <p:nvPr/>
        </p:nvSpPr>
        <p:spPr>
          <a:xfrm>
            <a:off x="4812855" y="130629"/>
            <a:ext cx="7379145" cy="692497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ligible applicant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tate ag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Independent governmental state or public entities (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quasi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unicipalities (cities and town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rib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Regional planning agencies (RPA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Community development corporations (CDC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ther development authorities or ag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rivate entities (under review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pplication proces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ill out Federal Matching Funds For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mail supporting materials to </a:t>
            </a:r>
            <a:r>
              <a:rPr kumimoji="0" lang="en-US" sz="2000" b="0" i="0" u="sng" strike="noStrike" kern="1200" cap="none" spc="0" normalizeH="0" baseline="0" noProof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Arial" panose="020B0604020202020204" pitchFamily="34" charset="0"/>
                <a:hlinkClick r:id="rId3"/>
              </a:rPr>
              <a:t>fedfundsinfra@mass.gov</a:t>
            </a:r>
            <a:endParaRPr kumimoji="0" lang="en-US" sz="2000" b="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Questions on form or materials: reach out to Bob and Sa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If your agency works with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muni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 on a federal program,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have the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muni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 who would be award recipient apply for match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Timelin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Three (3) weeks prior to federal application submiss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FFIO and ANF review on a rolling basis (for now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Still reviewing how to process retroactive request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3718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B34F1DB-BDB5-7EC6-E9C4-A2E22762B5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07EF2DF8-7087-2ED7-E6A2-E80569F8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5769AFA6-E6EF-BC9D-7B04-3ED633577D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6CEBE44-6F8A-A7D2-FB24-FAE0735486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2AAE25CF-E59D-7453-6743-DCA892E550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425E00-9E0E-910F-5E74-B618FAFD9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 err="1"/>
              <a:t>FFIo's</a:t>
            </a:r>
            <a:r>
              <a:rPr lang="en-US" sz="6000" spc="200"/>
              <a:t> work in New Bedford/Southeastern </a:t>
            </a:r>
            <a:r>
              <a:rPr lang="en-US" sz="6000" spc="200" err="1"/>
              <a:t>MAss</a:t>
            </a:r>
            <a:endParaRPr lang="en-US" sz="6000" spc="2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D949119-2607-7B04-BD29-6F4433892F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2077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5C775-4AD5-407D-B664-325F9204E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1748" y="0"/>
            <a:ext cx="8912051" cy="1045029"/>
          </a:xfrm>
        </p:spPr>
        <p:txBody>
          <a:bodyPr>
            <a:norm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Goudy Old Style" panose="02020502050305020303" pitchFamily="18" charset="0"/>
              </a:rPr>
              <a:t>Leonard’s Wharf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8FF4D41-6EE5-AFF9-F18E-D32032E871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15232" y="858982"/>
            <a:ext cx="5384800" cy="5329177"/>
          </a:xfrm>
        </p:spPr>
        <p:txBody>
          <a:bodyPr>
            <a:normAutofit fontScale="77500" lnSpcReduction="20000"/>
          </a:bodyPr>
          <a:lstStyle/>
          <a:p>
            <a:pPr marL="468313" lvl="1" indent="-285750"/>
            <a:r>
              <a:rPr lang="en-US" sz="21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tension and reconstruction project</a:t>
            </a:r>
          </a:p>
          <a:p>
            <a:pPr marL="925513" lvl="2" indent="-285750"/>
            <a:r>
              <a:rPr lang="en-US" sz="21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truction April 2025-September 2026</a:t>
            </a:r>
          </a:p>
          <a:p>
            <a:pPr marL="468313" lvl="1" indent="-285750"/>
            <a:endParaRPr lang="en-US" sz="21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8313" lvl="1" indent="-285750"/>
            <a:r>
              <a:rPr lang="en-US" sz="21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ver-sheeting of the 1,065 LF of existing bulkhead</a:t>
            </a:r>
          </a:p>
          <a:p>
            <a:pPr marL="468313" lvl="1" indent="-285750"/>
            <a:endParaRPr lang="en-US" sz="21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8313" lvl="1" indent="-285750"/>
            <a:r>
              <a:rPr lang="en-US" sz="21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7-foot extension to the harbor line adding 17,000 SF of surface area</a:t>
            </a:r>
          </a:p>
          <a:p>
            <a:pPr marL="468313" lvl="1" indent="-285750"/>
            <a:endParaRPr lang="en-US" sz="21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8313" lvl="1" indent="-285750"/>
            <a:r>
              <a:rPr lang="en-US" sz="21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ad capacity increased to 1,300 PSF to allow for heavy component transfer by SOVs</a:t>
            </a:r>
          </a:p>
          <a:p>
            <a:pPr marL="468313" lvl="1" indent="-285750"/>
            <a:endParaRPr lang="en-US" sz="2100" i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8313" lvl="1" indent="-285750"/>
            <a:r>
              <a:rPr lang="en-US" sz="21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vigational dredging to allow for deep draft berthing</a:t>
            </a:r>
          </a:p>
          <a:p>
            <a:pPr marL="468313" lvl="1" indent="-285750"/>
            <a:endParaRPr lang="en-US" sz="2100" i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8313" lvl="1" indent="-285750"/>
            <a:r>
              <a:rPr lang="en-US" sz="21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evate wharf by two feet to address sea level rise</a:t>
            </a:r>
          </a:p>
          <a:p>
            <a:pPr marL="468313" lvl="1" indent="-285750"/>
            <a:endParaRPr lang="en-US" sz="21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8313" lvl="1" indent="-285750"/>
            <a:r>
              <a:rPr lang="en-US" sz="21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3 MARAD PIDP GRANT</a:t>
            </a:r>
          </a:p>
          <a:p>
            <a:pPr marL="182563" lvl="1" indent="0">
              <a:buNone/>
            </a:pPr>
            <a:endParaRPr lang="en-US" sz="21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2563" lvl="1" indent="0">
              <a:buNone/>
            </a:pPr>
            <a:r>
              <a:rPr lang="en-US" sz="21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ederal grant award:	$ 24.4 million (55%) </a:t>
            </a:r>
          </a:p>
          <a:p>
            <a:pPr marL="182563" lvl="1" indent="0">
              <a:buNone/>
            </a:pPr>
            <a:r>
              <a:rPr lang="en-US" sz="2100" b="1" i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te match: 		$ 18.4 million (41.5%)</a:t>
            </a:r>
          </a:p>
          <a:p>
            <a:pPr marL="182563" lvl="1" indent="0">
              <a:buNone/>
            </a:pPr>
            <a:r>
              <a:rPr lang="en-US" sz="21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cal match: 		$  1.6 million (3.5%) </a:t>
            </a:r>
          </a:p>
          <a:p>
            <a:pPr marL="468313" lvl="1" indent="-285750"/>
            <a:endParaRPr lang="en-US" sz="1800">
              <a:solidFill>
                <a:srgbClr val="5D94B6"/>
              </a:solidFill>
              <a:latin typeface="Goudy Old Style" panose="02020502050305020303" pitchFamily="18" charset="0"/>
            </a:endParaRPr>
          </a:p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8F04EC-539C-3CFF-6786-67E8AA99CD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791"/>
          <a:stretch/>
        </p:blipFill>
        <p:spPr>
          <a:xfrm>
            <a:off x="425511" y="693336"/>
            <a:ext cx="4486490" cy="31431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1B4D3B4-356C-CE4E-2157-BDB89C0DCE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116" y="3906871"/>
            <a:ext cx="5662884" cy="285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8140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9ECE6A-565B-7CA2-09B1-A6B90D8E12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6FE55-B86E-43D1-FE28-CA4AD7B9E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3860" y="-19050"/>
            <a:ext cx="8912051" cy="816429"/>
          </a:xfrm>
        </p:spPr>
        <p:txBody>
          <a:bodyPr>
            <a:norm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Goudy Old Style" panose="02020502050305020303" pitchFamily="18" charset="0"/>
              </a:rPr>
              <a:t>Homer’s Wharf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4307FF-39C7-D284-3504-BCAE7BFC09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526" y="685801"/>
            <a:ext cx="5328398" cy="2743200"/>
          </a:xfrm>
        </p:spPr>
        <p:txBody>
          <a:bodyPr>
            <a:normAutofit/>
          </a:bodyPr>
          <a:lstStyle/>
          <a:p>
            <a:pPr marL="468313" lvl="1" indent="-285750"/>
            <a:r>
              <a:rPr lang="en-US" sz="2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ilar construction project to Leonard’s Wharf  </a:t>
            </a:r>
          </a:p>
          <a:p>
            <a:pPr marL="925513" lvl="2" indent="-285750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ver-sheeting and raising – no extension</a:t>
            </a:r>
          </a:p>
          <a:p>
            <a:pPr marL="925513" lvl="2" indent="-285750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bit more complicated with the existing buildings/structures </a:t>
            </a:r>
          </a:p>
          <a:p>
            <a:pPr marL="925513" lvl="2" indent="-285750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stimated at ~ $44 million </a:t>
            </a:r>
          </a:p>
          <a:p>
            <a:pPr marL="182563" lvl="1" indent="0">
              <a:buNone/>
            </a:pPr>
            <a:endParaRPr lang="en-US" sz="1800" b="1" dirty="0">
              <a:solidFill>
                <a:schemeClr val="accent1">
                  <a:lumMod val="50000"/>
                </a:schemeClr>
              </a:solidFill>
              <a:latin typeface="Goudy Old Style" panose="02020502050305020303" pitchFamily="18" charset="0"/>
            </a:endParaRPr>
          </a:p>
          <a:p>
            <a:pPr marL="468313" lvl="1" indent="-285750"/>
            <a:endParaRPr lang="en-US" sz="1800" b="1" dirty="0">
              <a:solidFill>
                <a:schemeClr val="accent1">
                  <a:lumMod val="50000"/>
                </a:schemeClr>
              </a:solidFill>
              <a:latin typeface="Goudy Old Style" panose="02020502050305020303" pitchFamily="18" charset="0"/>
            </a:endParaRPr>
          </a:p>
          <a:p>
            <a:pPr marL="468313" lvl="1" indent="-285750"/>
            <a:endParaRPr lang="en-US" sz="1800" b="1" i="1" dirty="0">
              <a:solidFill>
                <a:schemeClr val="accent1">
                  <a:lumMod val="50000"/>
                </a:schemeClr>
              </a:solidFill>
              <a:latin typeface="Goudy Old Style" panose="02020502050305020303" pitchFamily="18" charset="0"/>
            </a:endParaRPr>
          </a:p>
          <a:p>
            <a:pPr marL="468313" lvl="1" indent="-285750"/>
            <a:endParaRPr lang="en-US" sz="1800" dirty="0">
              <a:solidFill>
                <a:srgbClr val="5D94B6"/>
              </a:solidFill>
              <a:latin typeface="Goudy Old Style" panose="02020502050305020303" pitchFamily="18" charset="0"/>
            </a:endParaRP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DE3CF5-7839-70CE-9CFE-DEAE98785C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165"/>
          <a:stretch/>
        </p:blipFill>
        <p:spPr>
          <a:xfrm>
            <a:off x="809624" y="3386144"/>
            <a:ext cx="10097247" cy="347185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26F45CF-0A87-93F0-85E2-8CBA4FBC9310}"/>
              </a:ext>
            </a:extLst>
          </p:cNvPr>
          <p:cNvSpPr txBox="1"/>
          <p:nvPr/>
        </p:nvSpPr>
        <p:spPr>
          <a:xfrm>
            <a:off x="5495924" y="727293"/>
            <a:ext cx="6788440" cy="2660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68313" marR="0" lvl="1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sign &amp; Engineering complete </a:t>
            </a:r>
          </a:p>
          <a:p>
            <a:pPr marL="925513" marR="0" lvl="2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nded by Seaport Economic Council </a:t>
            </a:r>
          </a:p>
          <a:p>
            <a:pPr marL="18256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8313" marR="0" lvl="1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lly permitted through the SER process </a:t>
            </a:r>
          </a:p>
          <a:p>
            <a:pPr marL="468313" marR="0" lvl="1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8313" marR="0" lvl="1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IDP grant submittal Sept. 10, 2025</a:t>
            </a:r>
          </a:p>
          <a:p>
            <a:pPr marL="925513" marR="0" lvl="2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 successful, project could commence in 2027</a:t>
            </a:r>
          </a:p>
          <a:p>
            <a:pPr marL="468313" marR="0" lvl="1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Goudy Old Style" panose="02020502050305020303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97243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48161F74-7A4C-20DF-57D6-081BA57C1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52345" y="918599"/>
            <a:ext cx="3501916" cy="29122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231CB13-7E7C-21D5-AC8F-E29C3E968F9A}"/>
              </a:ext>
            </a:extLst>
          </p:cNvPr>
          <p:cNvSpPr txBox="1"/>
          <p:nvPr/>
        </p:nvSpPr>
        <p:spPr>
          <a:xfrm>
            <a:off x="678872" y="3934690"/>
            <a:ext cx="10834254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ADVANCING MARINE TECHNOLOGY  INNOVATION THROUGH REGIONAL PARTNERSHIPS 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rgbClr val="094786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3AB7F7-0DD1-26B6-85DC-6581B14F95AE}"/>
              </a:ext>
            </a:extLst>
          </p:cNvPr>
          <p:cNvSpPr/>
          <p:nvPr/>
        </p:nvSpPr>
        <p:spPr>
          <a:xfrm>
            <a:off x="-1" y="0"/>
            <a:ext cx="12150436" cy="581890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89E74E1-4EA2-B1D7-8D3E-F5D409F18C2A}"/>
              </a:ext>
            </a:extLst>
          </p:cNvPr>
          <p:cNvSpPr/>
          <p:nvPr/>
        </p:nvSpPr>
        <p:spPr>
          <a:xfrm>
            <a:off x="0" y="6317672"/>
            <a:ext cx="12191999" cy="540327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1" name="Flowchart: Data 10">
            <a:extLst>
              <a:ext uri="{FF2B5EF4-FFF2-40B4-BE49-F238E27FC236}">
                <a16:creationId xmlns:a16="http://schemas.microsoft.com/office/drawing/2014/main" id="{7410EB73-C9E9-3E52-6B94-9680DEC969A9}"/>
              </a:ext>
            </a:extLst>
          </p:cNvPr>
          <p:cNvSpPr/>
          <p:nvPr/>
        </p:nvSpPr>
        <p:spPr>
          <a:xfrm flipV="1">
            <a:off x="5805054" y="6165273"/>
            <a:ext cx="6345382" cy="692727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0BC913CD-A1A8-DEE1-5141-013600D803F2}"/>
              </a:ext>
            </a:extLst>
          </p:cNvPr>
          <p:cNvSpPr/>
          <p:nvPr/>
        </p:nvSpPr>
        <p:spPr>
          <a:xfrm flipV="1">
            <a:off x="-41564" y="2"/>
            <a:ext cx="6539345" cy="734288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71B942-4AF7-DB70-3CC2-0B5E85CD1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9841B3B-4C87-FBAC-5E9D-7E5D5FF1930B}"/>
              </a:ext>
            </a:extLst>
          </p:cNvPr>
          <p:cNvSpPr/>
          <p:nvPr/>
        </p:nvSpPr>
        <p:spPr>
          <a:xfrm>
            <a:off x="-1" y="0"/>
            <a:ext cx="12150436" cy="581890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A7CF5D-01BD-C2F8-C914-5C81DC3C1B8B}"/>
              </a:ext>
            </a:extLst>
          </p:cNvPr>
          <p:cNvSpPr/>
          <p:nvPr/>
        </p:nvSpPr>
        <p:spPr>
          <a:xfrm>
            <a:off x="0" y="6317672"/>
            <a:ext cx="12191999" cy="540327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1" name="Flowchart: Data 10">
            <a:extLst>
              <a:ext uri="{FF2B5EF4-FFF2-40B4-BE49-F238E27FC236}">
                <a16:creationId xmlns:a16="http://schemas.microsoft.com/office/drawing/2014/main" id="{95E45EF6-9858-8B58-4158-0BFEE65F24BF}"/>
              </a:ext>
            </a:extLst>
          </p:cNvPr>
          <p:cNvSpPr/>
          <p:nvPr/>
        </p:nvSpPr>
        <p:spPr>
          <a:xfrm flipV="1">
            <a:off x="5805054" y="6165273"/>
            <a:ext cx="6345382" cy="692727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7FDD3EEC-A917-6F5A-9522-A97C176A7054}"/>
              </a:ext>
            </a:extLst>
          </p:cNvPr>
          <p:cNvSpPr/>
          <p:nvPr/>
        </p:nvSpPr>
        <p:spPr>
          <a:xfrm flipV="1">
            <a:off x="-41564" y="2"/>
            <a:ext cx="6539345" cy="734288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C813AB-B20B-D26F-24B8-87E224102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22476" y="6164840"/>
            <a:ext cx="772392" cy="693594"/>
          </a:xfrm>
          <a:prstGeom prst="rect">
            <a:avLst/>
          </a:prstGeom>
        </p:spPr>
      </p:pic>
      <p:pic>
        <p:nvPicPr>
          <p:cNvPr id="5" name="Picture 4" descr="Graphic showing the locations in the US of the Tech Hubs Designees and Strategy Development Grant (SDG) Recipients">
            <a:extLst>
              <a:ext uri="{FF2B5EF4-FFF2-40B4-BE49-F238E27FC236}">
                <a16:creationId xmlns:a16="http://schemas.microsoft.com/office/drawing/2014/main" id="{75CC4171-73F6-4868-E52C-C85EE71DA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03" y="1960418"/>
            <a:ext cx="5438775" cy="3657600"/>
          </a:xfrm>
          <a:prstGeom prst="rect">
            <a:avLst/>
          </a:prstGeom>
        </p:spPr>
      </p:pic>
      <p:pic>
        <p:nvPicPr>
          <p:cNvPr id="6" name="Picture 5" descr="A blue and white logo&#10;&#10;Description automatically generated">
            <a:extLst>
              <a:ext uri="{FF2B5EF4-FFF2-40B4-BE49-F238E27FC236}">
                <a16:creationId xmlns:a16="http://schemas.microsoft.com/office/drawing/2014/main" id="{553FEE10-0377-5516-962B-3E14DCFEB0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70323" y="2179493"/>
            <a:ext cx="2400300" cy="32194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06F1A84-1E68-42B3-5D73-A36A28507D3C}"/>
              </a:ext>
            </a:extLst>
          </p:cNvPr>
          <p:cNvSpPr txBox="1"/>
          <p:nvPr/>
        </p:nvSpPr>
        <p:spPr>
          <a:xfrm>
            <a:off x="568034" y="1011381"/>
            <a:ext cx="5320146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TECH HUBS </a:t>
            </a:r>
          </a:p>
        </p:txBody>
      </p:sp>
    </p:spTree>
    <p:extLst>
      <p:ext uri="{BB962C8B-B14F-4D97-AF65-F5344CB8AC3E}">
        <p14:creationId xmlns:p14="http://schemas.microsoft.com/office/powerpoint/2010/main" val="5778368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CDCA1-1387-3248-9FCD-95B3D4A413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E2539F4-0970-0C5E-0E87-DB4E759AC1EE}"/>
              </a:ext>
            </a:extLst>
          </p:cNvPr>
          <p:cNvSpPr/>
          <p:nvPr/>
        </p:nvSpPr>
        <p:spPr>
          <a:xfrm>
            <a:off x="-1" y="0"/>
            <a:ext cx="12150436" cy="581890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D88FEE-9D07-F1D5-3CE3-854297162917}"/>
              </a:ext>
            </a:extLst>
          </p:cNvPr>
          <p:cNvSpPr/>
          <p:nvPr/>
        </p:nvSpPr>
        <p:spPr>
          <a:xfrm>
            <a:off x="0" y="6317672"/>
            <a:ext cx="12191999" cy="540327"/>
          </a:xfrm>
          <a:prstGeom prst="rect">
            <a:avLst/>
          </a:prstGeom>
          <a:solidFill>
            <a:srgbClr val="04294D"/>
          </a:solidFill>
          <a:ln>
            <a:solidFill>
              <a:srgbClr val="0429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1" name="Flowchart: Data 10">
            <a:extLst>
              <a:ext uri="{FF2B5EF4-FFF2-40B4-BE49-F238E27FC236}">
                <a16:creationId xmlns:a16="http://schemas.microsoft.com/office/drawing/2014/main" id="{0223D586-675E-4DDD-A44E-3B9684FE0C00}"/>
              </a:ext>
            </a:extLst>
          </p:cNvPr>
          <p:cNvSpPr/>
          <p:nvPr/>
        </p:nvSpPr>
        <p:spPr>
          <a:xfrm flipV="1">
            <a:off x="5805054" y="6165273"/>
            <a:ext cx="6345382" cy="692727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6A165171-EF8A-3CC8-A8DD-C30B77186FA8}"/>
              </a:ext>
            </a:extLst>
          </p:cNvPr>
          <p:cNvSpPr/>
          <p:nvPr/>
        </p:nvSpPr>
        <p:spPr>
          <a:xfrm flipV="1">
            <a:off x="0" y="2"/>
            <a:ext cx="6539345" cy="734288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E82BBC-655B-3566-3293-F0C03AE274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22476" y="6164840"/>
            <a:ext cx="772392" cy="69359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B4A5B0A-AFB4-722C-18EE-499BC95ABFAC}"/>
              </a:ext>
            </a:extLst>
          </p:cNvPr>
          <p:cNvSpPr txBox="1"/>
          <p:nvPr/>
        </p:nvSpPr>
        <p:spPr>
          <a:xfrm>
            <a:off x="3629890" y="1011381"/>
            <a:ext cx="8118763" cy="7078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ABOUT THE OCEAN TECH HUB 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CF351C6-D774-5748-6745-ED493F4D32A2}"/>
              </a:ext>
            </a:extLst>
          </p:cNvPr>
          <p:cNvSpPr/>
          <p:nvPr/>
        </p:nvSpPr>
        <p:spPr>
          <a:xfrm>
            <a:off x="443344" y="581891"/>
            <a:ext cx="2978730" cy="5777344"/>
          </a:xfrm>
          <a:prstGeom prst="rect">
            <a:avLst/>
          </a:prstGeom>
          <a:solidFill>
            <a:srgbClr val="04294D"/>
          </a:solidFill>
          <a:ln>
            <a:solidFill>
              <a:srgbClr val="0429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D27403-471D-F919-5D3C-579CD21008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08" y="2576512"/>
            <a:ext cx="3357130" cy="17465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018CDA4-8717-809B-1884-E3EBDDC3F9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164" y="733859"/>
            <a:ext cx="3357130" cy="173268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434DCC7-F8BA-682B-BF70-85C048EC62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108" y="4488441"/>
            <a:ext cx="3357130" cy="182966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40BCBE7-FA3B-B644-5EBC-D6CB8F6DA08C}"/>
              </a:ext>
            </a:extLst>
          </p:cNvPr>
          <p:cNvSpPr txBox="1"/>
          <p:nvPr/>
        </p:nvSpPr>
        <p:spPr>
          <a:xfrm>
            <a:off x="4793671" y="1925781"/>
            <a:ext cx="6954983" cy="44319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lt"/>
                <a:cs typeface="+mn-lt"/>
              </a:rPr>
              <a:t>Accelerates the commercialization of ocean/marine technologies utilizing an integrated hub-and-spoke model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lt"/>
              <a:cs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lt"/>
                <a:cs typeface="+mn-lt"/>
              </a:rPr>
              <a:t>Collaborative initiative that brings together government agencies, academic institutions, nonprofits, early- and mid-stage commercial ventures, and established companies.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lt"/>
              <a:cs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lt"/>
                <a:cs typeface="+mn-lt"/>
              </a:rPr>
              <a:t>Driving growth in key industries, including defense, energy production, transportation, shipping, and aquacultu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lt"/>
              <a:cs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lt"/>
                <a:cs typeface="+mn-lt"/>
              </a:rPr>
              <a:t>Combines Southeastern New England’s rich legacy of advanced manufacturing with its entrepreneurial expertise and leadership in robotics and advanced materia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lt"/>
              <a:cs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lt"/>
              <a:cs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51833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177EEA-79A3-35C0-6CDB-BD616DA42E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EDEA9F2-AB20-3BE7-A700-8BBD7255A62F}"/>
              </a:ext>
            </a:extLst>
          </p:cNvPr>
          <p:cNvSpPr/>
          <p:nvPr/>
        </p:nvSpPr>
        <p:spPr>
          <a:xfrm>
            <a:off x="-1" y="0"/>
            <a:ext cx="12150436" cy="581890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9FDD3A-E36B-17C4-CFD5-3D05F005E2ED}"/>
              </a:ext>
            </a:extLst>
          </p:cNvPr>
          <p:cNvSpPr/>
          <p:nvPr/>
        </p:nvSpPr>
        <p:spPr>
          <a:xfrm>
            <a:off x="0" y="6317672"/>
            <a:ext cx="12191999" cy="540327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1" name="Flowchart: Data 10">
            <a:extLst>
              <a:ext uri="{FF2B5EF4-FFF2-40B4-BE49-F238E27FC236}">
                <a16:creationId xmlns:a16="http://schemas.microsoft.com/office/drawing/2014/main" id="{2A87CF64-AD8E-DB17-EBAB-1DC6B98A8CE9}"/>
              </a:ext>
            </a:extLst>
          </p:cNvPr>
          <p:cNvSpPr/>
          <p:nvPr/>
        </p:nvSpPr>
        <p:spPr>
          <a:xfrm flipV="1">
            <a:off x="5805054" y="6165273"/>
            <a:ext cx="6345382" cy="692727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A12E7FA8-F889-43C1-A90F-D6BDA0172C49}"/>
              </a:ext>
            </a:extLst>
          </p:cNvPr>
          <p:cNvSpPr/>
          <p:nvPr/>
        </p:nvSpPr>
        <p:spPr>
          <a:xfrm flipV="1">
            <a:off x="-41564" y="2"/>
            <a:ext cx="6539345" cy="734288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D5E0E7-6FDF-E988-0ECC-C2FDB6D892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22476" y="6164840"/>
            <a:ext cx="772392" cy="69359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4B84091-692C-BFE3-632E-FD09E056B1DD}"/>
              </a:ext>
            </a:extLst>
          </p:cNvPr>
          <p:cNvSpPr txBox="1"/>
          <p:nvPr/>
        </p:nvSpPr>
        <p:spPr>
          <a:xfrm>
            <a:off x="761998" y="734290"/>
            <a:ext cx="6816436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HUB &amp; SPOKE MOD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9CEF85-E9B6-B2A0-E92E-9EB193C1E739}"/>
              </a:ext>
            </a:extLst>
          </p:cNvPr>
          <p:cNvSpPr txBox="1"/>
          <p:nvPr/>
        </p:nvSpPr>
        <p:spPr>
          <a:xfrm>
            <a:off x="760703" y="1321812"/>
            <a:ext cx="10646784" cy="8925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2142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INTERCONNECTED NETWORK OF RESOURCES THROUGHOUT SOUTHEASTERN, MA &amp; RHODE ISLAND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2142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34801E0-E34D-86F9-1C11-E91FE86AADA3}"/>
              </a:ext>
            </a:extLst>
          </p:cNvPr>
          <p:cNvSpPr txBox="1"/>
          <p:nvPr/>
        </p:nvSpPr>
        <p:spPr>
          <a:xfrm>
            <a:off x="4558145" y="2050689"/>
            <a:ext cx="7804005" cy="42592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Startup Programs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Industry Networks 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A Workforce of Over 54,000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Supply Chain of 8,300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7 Deep Water Ports 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Hundreds of Miles of Coastline 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Established Companies 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Successful Startups 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VC Network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World- Class Research Institutions 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Universities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WHOI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NUWC &amp; War College</a:t>
            </a:r>
          </a:p>
          <a:p>
            <a:pPr marL="1828800" marR="0" lvl="4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F721B1-38A0-877B-0AB4-E08882B8C85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373" t="13903" r="11805" b="2310"/>
          <a:stretch>
            <a:fillRect/>
          </a:stretch>
        </p:blipFill>
        <p:spPr>
          <a:xfrm>
            <a:off x="724331" y="2365446"/>
            <a:ext cx="4996835" cy="3641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3856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0CA372-6FB2-68E9-C750-900D08E1E2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B555B0B-7D13-F866-CE3B-28F484FC4F89}"/>
              </a:ext>
            </a:extLst>
          </p:cNvPr>
          <p:cNvSpPr/>
          <p:nvPr/>
        </p:nvSpPr>
        <p:spPr>
          <a:xfrm>
            <a:off x="-1" y="0"/>
            <a:ext cx="12150436" cy="581890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D91000-98E1-CF4C-A5B2-10AA3A301EF4}"/>
              </a:ext>
            </a:extLst>
          </p:cNvPr>
          <p:cNvSpPr/>
          <p:nvPr/>
        </p:nvSpPr>
        <p:spPr>
          <a:xfrm>
            <a:off x="0" y="6317672"/>
            <a:ext cx="12191999" cy="540327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1" name="Flowchart: Data 10">
            <a:extLst>
              <a:ext uri="{FF2B5EF4-FFF2-40B4-BE49-F238E27FC236}">
                <a16:creationId xmlns:a16="http://schemas.microsoft.com/office/drawing/2014/main" id="{8F3BAA9C-277F-C19E-3985-35DAD4C3083C}"/>
              </a:ext>
            </a:extLst>
          </p:cNvPr>
          <p:cNvSpPr/>
          <p:nvPr/>
        </p:nvSpPr>
        <p:spPr>
          <a:xfrm flipV="1">
            <a:off x="5805054" y="6165273"/>
            <a:ext cx="6345382" cy="692727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6BDCA67F-AB35-1DCB-3A3C-5D6AC91A073A}"/>
              </a:ext>
            </a:extLst>
          </p:cNvPr>
          <p:cNvSpPr/>
          <p:nvPr/>
        </p:nvSpPr>
        <p:spPr>
          <a:xfrm flipV="1">
            <a:off x="-41564" y="2"/>
            <a:ext cx="6539345" cy="734288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E06070-DCD0-C452-C48C-2DC095D0FA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22476" y="6164840"/>
            <a:ext cx="772392" cy="69359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25026E3-9B27-5F24-BC0C-61374B2CCD4B}"/>
              </a:ext>
            </a:extLst>
          </p:cNvPr>
          <p:cNvSpPr txBox="1"/>
          <p:nvPr/>
        </p:nvSpPr>
        <p:spPr>
          <a:xfrm>
            <a:off x="690560" y="1055759"/>
            <a:ext cx="8947654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OCEAN TECH HUB COMPONENTS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>
              <a:ln>
                <a:noFill/>
              </a:ln>
              <a:solidFill>
                <a:srgbClr val="094786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037A33-F0F5-2B6E-D104-7B76C2C09D95}"/>
              </a:ext>
            </a:extLst>
          </p:cNvPr>
          <p:cNvSpPr txBox="1"/>
          <p:nvPr/>
        </p:nvSpPr>
        <p:spPr>
          <a:xfrm>
            <a:off x="5687072" y="1565563"/>
            <a:ext cx="5909180" cy="45957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94786"/>
              </a:solidFill>
              <a:effectLst/>
              <a:uLnTx/>
              <a:uFillTx/>
              <a:latin typeface="Aptos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/>
                <a:ea typeface="+mn-ea"/>
                <a:cs typeface="Arial"/>
              </a:rPr>
              <a:t>CENTRAL TECH HUB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/>
                <a:ea typeface="+mn-ea"/>
                <a:cs typeface="Arial"/>
              </a:rPr>
              <a:t>GROW BLUE BUSINESSES 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UNIVERSITY CONSORTIUM 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BLUE ROBOTICS LAB 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SMART BAY &amp; DIGITAL TWIN 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WORKFORCE DEVELOPMENT 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79B401-FB84-09A0-45F2-AC5503A190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6619" y="2592965"/>
            <a:ext cx="3016827" cy="21457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907225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7200"/>
              <a:t>Municipal needs survey</a:t>
            </a:r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7732" y="1871533"/>
            <a:ext cx="5900063" cy="3549708"/>
          </a:xfrm>
        </p:spPr>
        <p:txBody>
          <a:bodyPr>
            <a:normAutofit/>
          </a:bodyPr>
          <a:lstStyle/>
          <a:p>
            <a:r>
              <a:rPr lang="en-US" sz="2800" b="1"/>
              <a:t>Please take 5 minutes to fill out this form and help us learn more about how our office can support you to best leverage available and upcoming federal funding opportunities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7523544" y="1756063"/>
            <a:ext cx="4309230" cy="462158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82481FE-B35C-47F1-BD27-496FB57B0C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273" y="2208705"/>
            <a:ext cx="3831772" cy="38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224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BF1BA0-72F7-B24A-03F1-38BD1AF14D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C43AF5-389F-CE67-AE55-16F85DF47EDD}"/>
              </a:ext>
            </a:extLst>
          </p:cNvPr>
          <p:cNvSpPr/>
          <p:nvPr/>
        </p:nvSpPr>
        <p:spPr>
          <a:xfrm>
            <a:off x="-1" y="0"/>
            <a:ext cx="12150436" cy="581890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FF266D-2DEF-1522-305F-E5A792DD80B3}"/>
              </a:ext>
            </a:extLst>
          </p:cNvPr>
          <p:cNvSpPr/>
          <p:nvPr/>
        </p:nvSpPr>
        <p:spPr>
          <a:xfrm>
            <a:off x="0" y="6317672"/>
            <a:ext cx="12191999" cy="540327"/>
          </a:xfrm>
          <a:prstGeom prst="rect">
            <a:avLst/>
          </a:prstGeom>
          <a:solidFill>
            <a:srgbClr val="0429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1" name="Flowchart: Data 10">
            <a:extLst>
              <a:ext uri="{FF2B5EF4-FFF2-40B4-BE49-F238E27FC236}">
                <a16:creationId xmlns:a16="http://schemas.microsoft.com/office/drawing/2014/main" id="{76DB1842-4D16-904C-1A70-9530BA38E018}"/>
              </a:ext>
            </a:extLst>
          </p:cNvPr>
          <p:cNvSpPr/>
          <p:nvPr/>
        </p:nvSpPr>
        <p:spPr>
          <a:xfrm flipV="1">
            <a:off x="5805054" y="6165273"/>
            <a:ext cx="6345382" cy="692727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DD25C439-29E6-1F65-66DF-A931E7033376}"/>
              </a:ext>
            </a:extLst>
          </p:cNvPr>
          <p:cNvSpPr/>
          <p:nvPr/>
        </p:nvSpPr>
        <p:spPr>
          <a:xfrm flipV="1">
            <a:off x="-41564" y="2"/>
            <a:ext cx="6539345" cy="734288"/>
          </a:xfrm>
          <a:prstGeom prst="flowChartInputOutput">
            <a:avLst/>
          </a:prstGeom>
          <a:solidFill>
            <a:srgbClr val="09478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CDB4FE-E1E6-0DE4-2233-D2A39CE65B9D}"/>
              </a:ext>
            </a:extLst>
          </p:cNvPr>
          <p:cNvSpPr txBox="1"/>
          <p:nvPr/>
        </p:nvSpPr>
        <p:spPr>
          <a:xfrm>
            <a:off x="831271" y="1219199"/>
            <a:ext cx="10945090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GET IN TOUCH 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E79E38-C936-7604-FDD2-5AFCCADB94C5}"/>
              </a:ext>
            </a:extLst>
          </p:cNvPr>
          <p:cNvSpPr txBox="1"/>
          <p:nvPr/>
        </p:nvSpPr>
        <p:spPr>
          <a:xfrm>
            <a:off x="4862945" y="2036617"/>
            <a:ext cx="6913417" cy="34163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www.oceantechnologyhub.com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94786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 LinkedIn: @oceantechhub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94786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Ashley.Medeiros@commerceri.com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94786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4F7BC15-F3C5-DA5E-6E54-693AA71D95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077" y="2237377"/>
            <a:ext cx="3425717" cy="2757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7580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194971-2F2D-44B0-8AE6-FF2DCCEE0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1FF9A61E-EB11-4C46-82E1-3E00A3B4B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564EB3-35F2-4EFF-87DC-642DC0205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6A5AB136-1321-47B3-8AF9-A8140222B1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FB9A7-C8DD-7F1A-F23E-02E2D28F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New Federal Funding Opportuniti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29AB2E-91A6-4F11-8765-A410A013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24010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B00F9-BAAB-C8DE-E968-A29D8586C5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E7F279F-4B22-AE75-6585-699D8D9B4F39}"/>
              </a:ext>
            </a:extLst>
          </p:cNvPr>
          <p:cNvSpPr txBox="1">
            <a:spLocks/>
          </p:cNvSpPr>
          <p:nvPr/>
        </p:nvSpPr>
        <p:spPr>
          <a:xfrm>
            <a:off x="890454" y="108836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</a:t>
            </a:r>
            <a:r>
              <a:rPr lang="en-US" sz="4400">
                <a:solidFill>
                  <a:prstClr val="black"/>
                </a:solidFill>
                <a:latin typeface="Tw Cen MT Condensed" panose="020B0606020104020203"/>
              </a:rPr>
              <a:t>: Transportation</a:t>
            </a:r>
            <a:endParaRPr lang="en-US" sz="4400" b="0" i="0" u="none" strike="noStrike" kern="1200" cap="all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 Condensed" panose="020B0606020104020203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4C906486-E95B-F55A-6695-30C3148FF2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209589"/>
              </p:ext>
            </p:extLst>
          </p:nvPr>
        </p:nvGraphicFramePr>
        <p:xfrm>
          <a:off x="435429" y="885371"/>
          <a:ext cx="11160102" cy="57344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24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561762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24083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2183642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1605370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699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Rural and Tribal Assistance Pilot Program </a:t>
                      </a:r>
                      <a:r>
                        <a:rPr lang="en-US" sz="1600" b="1" i="0" u="none" strike="noStrike" noProof="0">
                          <a:solidFill>
                            <a:schemeClr val="accent6">
                              <a:lumMod val="76000"/>
                            </a:schemeClr>
                          </a:solidFill>
                          <a:latin typeface="TW Cen MT"/>
                        </a:rPr>
                        <a:t>(Reapply!)</a:t>
                      </a:r>
                      <a:endParaRPr lang="en-US" sz="1600" b="1">
                        <a:solidFill>
                          <a:schemeClr val="accent6">
                            <a:lumMod val="76000"/>
                          </a:schemeClr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TW Cen MT"/>
                        </a:rPr>
                        <a:t>Rural Local Government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TB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65491713"/>
                  </a:ext>
                </a:extLst>
              </a:tr>
              <a:tr h="57119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Safe Streets and Roads for All (SS4A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Local Governments, Tribes, School Districts, Univers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6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7709465"/>
                  </a:ext>
                </a:extLst>
              </a:tr>
              <a:tr h="5711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Ports Infrastructure Development Program (PIDP) </a:t>
                      </a:r>
                      <a:r>
                        <a:rPr lang="en-US" sz="1600" b="1" i="0" u="none" strike="noStrike" noProof="0">
                          <a:solidFill>
                            <a:schemeClr val="accent6">
                              <a:lumMod val="76000"/>
                            </a:schemeClr>
                          </a:solidFill>
                          <a:latin typeface="TW Cen MT"/>
                        </a:rPr>
                        <a:t>(Amended NOFO!)</a:t>
                      </a:r>
                      <a:endParaRPr lang="en-US" sz="1600" b="1">
                        <a:solidFill>
                          <a:schemeClr val="accent6">
                            <a:lumMod val="76000"/>
                          </a:schemeClr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State, Local Governments, Tribes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125,0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 (exceptions for rural areas and small projects at small port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10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50917824"/>
                  </a:ext>
                </a:extLst>
              </a:tr>
              <a:tr h="57119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Regional Infrastructure Accelera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All eligible public US based ent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2,0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16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2570036"/>
                  </a:ext>
                </a:extLst>
              </a:tr>
              <a:tr h="5098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latin typeface="TW Cen MT"/>
                          <a:ea typeface="+mn-ea"/>
                          <a:cs typeface="+mn-cs"/>
                        </a:rPr>
                        <a:t>Low or No Emission Program</a:t>
                      </a:r>
                      <a:endParaRPr lang="en-US" sz="1600" b="1" i="0" u="none" strike="noStrike" kern="1200" noProof="0">
                        <a:solidFill>
                          <a:schemeClr val="tx2"/>
                        </a:solidFill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, Local Government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 (with exception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7/14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8930824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latin typeface="TW Cen MT"/>
                          <a:ea typeface="+mn-ea"/>
                          <a:cs typeface="+mn-cs"/>
                        </a:rPr>
                        <a:t>Buses and Bus Facilities Program</a:t>
                      </a:r>
                      <a:endParaRPr lang="en-US" sz="1600" b="1" i="0" u="none" strike="noStrike" kern="1200" noProof="0">
                        <a:solidFill>
                          <a:schemeClr val="tx2"/>
                        </a:solidFill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, Local Government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latin typeface="TW Cen MT"/>
                          <a:ea typeface="+mn-ea"/>
                          <a:cs typeface="+mn-cs"/>
                        </a:rPr>
                        <a:t>$39,810,323</a:t>
                      </a:r>
                      <a:endParaRPr lang="en-US" sz="1600" kern="1200" noProof="0">
                        <a:solidFill>
                          <a:schemeClr val="dk1"/>
                        </a:solidFill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 (with exception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kern="1200" baseline="0" noProof="0">
                          <a:solidFill>
                            <a:srgbClr val="000000"/>
                          </a:solidFill>
                          <a:latin typeface="TW Cen MT"/>
                          <a:ea typeface="+mn-ea"/>
                          <a:cs typeface="+mn-cs"/>
                        </a:rPr>
                        <a:t>7/14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04193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latin typeface="TW Cen MT"/>
                          <a:ea typeface="+mn-ea"/>
                          <a:cs typeface="+mn-cs"/>
                        </a:rPr>
                        <a:t>High Priority Program-Commercial Motor Vehicle (HP-CMV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, Local Governments, Tribes, Universities, Nonprof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kern="1200">
                          <a:solidFill>
                            <a:schemeClr val="dk1"/>
                          </a:solidFill>
                          <a:latin typeface="TW Cen MT"/>
                          <a:ea typeface="+mn-ea"/>
                          <a:cs typeface="+mn-cs"/>
                        </a:rPr>
                        <a:t>$46,6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0/2025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2777063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latin typeface="TW Cen MT"/>
                        </a:rPr>
                        <a:t>Commercial Motor Vehicle Operator Safety Training Program CMVOST 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Small business, NGOs, Public Universities, Tribes, State, Local Gov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kern="1200" noProof="0">
                          <a:solidFill>
                            <a:schemeClr val="tx1"/>
                          </a:solidFill>
                          <a:latin typeface="TW Cen MT"/>
                        </a:rPr>
                        <a:t>200K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No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chemeClr val="tx1"/>
                          </a:solidFill>
                          <a:latin typeface="TW Cen MT"/>
                        </a:rPr>
                        <a:t>6/20/25</a:t>
                      </a: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43711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71779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FE56DD-912F-2D02-5B71-ACC5BF244F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FC03E55-E2F7-CEF8-A28B-7EA464C4F3F6}"/>
              </a:ext>
            </a:extLst>
          </p:cNvPr>
          <p:cNvSpPr txBox="1">
            <a:spLocks/>
          </p:cNvSpPr>
          <p:nvPr/>
        </p:nvSpPr>
        <p:spPr>
          <a:xfrm>
            <a:off x="930210" y="824453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: Food grants 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B9F56E3-77CE-551C-B9AC-7B5B6EF7BA9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95647289"/>
              </p:ext>
            </p:extLst>
          </p:nvPr>
        </p:nvGraphicFramePr>
        <p:xfrm>
          <a:off x="515949" y="1826906"/>
          <a:ext cx="11160102" cy="33265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24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823287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69173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1325800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2156597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699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509825"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effectLst/>
                          <a:latin typeface="TW Cen MT"/>
                          <a:ea typeface="+mn-ea"/>
                          <a:cs typeface="+mn-cs"/>
                        </a:rPr>
                        <a:t>Farmers Market Promotion Program Fiscal Year 2025</a:t>
                      </a:r>
                      <a:endParaRPr lang="en-US" sz="1600" b="1" i="0" u="none" strike="noStrike" kern="1200" noProof="0">
                        <a:solidFill>
                          <a:schemeClr val="tx2"/>
                        </a:solidFill>
                        <a:effectLst/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+mn-lt"/>
                        </a:rPr>
                        <a:t>Municipalities, Food Councils, NGOs, Tribes, etc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$5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2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6/27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9971466"/>
                  </a:ext>
                </a:extLst>
              </a:tr>
              <a:tr h="509825"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effectLst/>
                          <a:latin typeface="TW Cen MT"/>
                          <a:ea typeface="+mn-ea"/>
                          <a:cs typeface="+mn-cs"/>
                        </a:rPr>
                        <a:t>Local Food Promotion Program Fiscal Year 2025</a:t>
                      </a:r>
                      <a:endParaRPr lang="en-US" sz="1600" b="1" i="0" u="none" strike="noStrike" kern="1200" noProof="0">
                        <a:solidFill>
                          <a:schemeClr val="tx2"/>
                        </a:solidFill>
                        <a:effectLst/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+mn-lt"/>
                        </a:rPr>
                        <a:t>Municipalities, Food Councils, NGOs, Tribes, etc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$5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2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6/27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3281924"/>
                  </a:ext>
                </a:extLst>
              </a:tr>
              <a:tr h="5098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al Food System Partnerships</a:t>
                      </a:r>
                      <a:endParaRPr lang="en-US" sz="1600" b="1" i="0" u="none" strike="noStrike" noProof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ate Agencies or Regional Authorities, Philanthropic Corporations, Institutions of Higher Education, Private Corporations, and Commercial, Federal or Farm Credit System Lending Institutions.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$1,0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2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6/27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185822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91662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CF95D-8D81-5E41-5FED-C4BED276A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68BA126-FB10-CA43-4107-F6ACEA3AFF15}"/>
              </a:ext>
            </a:extLst>
          </p:cNvPr>
          <p:cNvSpPr txBox="1">
            <a:spLocks/>
          </p:cNvSpPr>
          <p:nvPr/>
        </p:nvSpPr>
        <p:spPr>
          <a:xfrm>
            <a:off x="890454" y="108836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</a:t>
            </a:r>
            <a:r>
              <a:rPr lang="en-US" sz="4400">
                <a:solidFill>
                  <a:prstClr val="black"/>
                </a:solidFill>
                <a:latin typeface="Tw Cen MT Condensed" panose="020B0606020104020203"/>
              </a:rPr>
              <a:t>: Public Safety/other</a:t>
            </a:r>
            <a:endParaRPr kumimoji="0" lang="en-US" sz="4400" b="0" i="0" u="none" strike="noStrike" kern="1200" cap="all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6A6980E1-34F0-6FB4-7B9D-EBB8D9A4230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8455841"/>
              </p:ext>
            </p:extLst>
          </p:nvPr>
        </p:nvGraphicFramePr>
        <p:xfrm>
          <a:off x="435429" y="885371"/>
          <a:ext cx="11160102" cy="54823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24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561762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24083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2183642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1605370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699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Partnership for Fish and Wildlife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State, Local Governments, Tribes, For-Profits, Nonprof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75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30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04193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effectLst/>
                          <a:latin typeface="TW Cen MT"/>
                          <a:ea typeface="+mn-ea"/>
                          <a:cs typeface="+mn-cs"/>
                        </a:rPr>
                        <a:t>FY25 COPS Hiring Progr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TW Cen MT"/>
                        </a:rPr>
                        <a:t>State, Municipalitie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5/2025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2777063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EDA Public Works Program (PWEAA)</a:t>
                      </a:r>
                      <a:r>
                        <a:rPr lang="en-US" sz="16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 </a:t>
                      </a:r>
                      <a:endParaRPr lang="en-US" sz="1600"/>
                    </a:p>
                    <a:p>
                      <a:pPr marL="0" lvl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1" i="0" u="none" strike="noStrike" kern="1200">
                        <a:solidFill>
                          <a:schemeClr val="tx2"/>
                        </a:solidFill>
                        <a:effectLst/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States, Local Governments, Tribes, Universities, NGOs </a:t>
                      </a:r>
                      <a:endParaRPr lang="en-US" sz="1600"/>
                    </a:p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30,000,000 </a:t>
                      </a:r>
                      <a:endParaRPr lang="en-US" sz="16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20-40% </a:t>
                      </a:r>
                      <a:endParaRPr lang="en-US" sz="16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Rolling </a:t>
                      </a:r>
                      <a:endParaRPr lang="en-US" sz="16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50035740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chemeClr val="tx2"/>
                          </a:solidFill>
                          <a:effectLst/>
                          <a:latin typeface="TW Cen MT"/>
                        </a:rPr>
                        <a:t>Staffing for Adequate Fire and Emergency Response (SAFER)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Fire Departments, State, Local Governments, Nonprof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Varies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7/3/2025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43626342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chemeClr val="tx2"/>
                          </a:solidFill>
                          <a:effectLst/>
                          <a:latin typeface="TW Cen MT"/>
                        </a:rPr>
                        <a:t>Fire Prevention and Safety Grant Program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marL="0" lvl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1" i="0" u="none" strike="noStrike" kern="1200">
                        <a:solidFill>
                          <a:schemeClr val="tx2"/>
                        </a:solidFill>
                        <a:effectLst/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Fire Departments, State, Local Governments, Nonprof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600,000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5%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7/3/2025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3260727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Y25 School Violence Prevention Program (DOJ)</a:t>
                      </a:r>
                      <a:endParaRPr lang="en-US" sz="1600" b="1" i="0" u="none" strike="noStrike" noProof="0">
                        <a:solidFill>
                          <a:schemeClr val="tx2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, Local Governments, School Districts, Tribes, Law Enforcement Agencies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500,000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18/2025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2146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23931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3364B-918C-3614-F88C-8F98C3E499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B4824B3-E180-B9AC-7866-9D04316AA534}"/>
              </a:ext>
            </a:extLst>
          </p:cNvPr>
          <p:cNvSpPr txBox="1">
            <a:spLocks/>
          </p:cNvSpPr>
          <p:nvPr/>
        </p:nvSpPr>
        <p:spPr>
          <a:xfrm>
            <a:off x="890454" y="108836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 </a:t>
            </a:r>
            <a:r>
              <a:rPr lang="en-US" sz="4400">
                <a:solidFill>
                  <a:prstClr val="black"/>
                </a:solidFill>
                <a:latin typeface="Tw Cen MT Condensed" panose="020B0606020104020203"/>
              </a:rPr>
              <a:t>: Education &amp; Research</a:t>
            </a:r>
            <a:endParaRPr kumimoji="0" lang="en-US" sz="4400" b="0" i="0" u="none" strike="noStrike" kern="1200" cap="all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F77AF29-0B54-90B1-E385-893ABDB78A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33876593"/>
              </p:ext>
            </p:extLst>
          </p:nvPr>
        </p:nvGraphicFramePr>
        <p:xfrm>
          <a:off x="435429" y="885371"/>
          <a:ext cx="11160102" cy="4799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8102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532993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39614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1295393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44754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598690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chemeClr val="tx2"/>
                          </a:solidFill>
                          <a:effectLst/>
                          <a:latin typeface="TW Cen MT"/>
                        </a:rPr>
                        <a:t>Fire Science Innovations through Research and Educ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restricted</a:t>
                      </a:r>
                      <a:endParaRPr lang="en-U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0/2025</a:t>
                      </a:r>
                      <a:endParaRPr lang="en-US" sz="16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927445"/>
                  </a:ext>
                </a:extLst>
              </a:tr>
              <a:tr h="549052"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NSF - Applied Mathematics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restrict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11/17/2025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51952951"/>
                  </a:ext>
                </a:extLst>
              </a:tr>
              <a:tr h="1238560"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FY26 Department of Defense Multidisciplinary Research Program of the University Research Initiative (MURI)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ivers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4,5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5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8151720"/>
                  </a:ext>
                </a:extLst>
              </a:tr>
              <a:tr h="1008724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D.4 University Leadership Initiative 2 (ULI2)- NASA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Unrestricted (target: Universities)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N/A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N/A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chemeClr val="tx1"/>
                          </a:solidFill>
                          <a:latin typeface="TW Cen MT"/>
                        </a:rPr>
                        <a:t>6/26/2025</a:t>
                      </a: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6704912"/>
                  </a:ext>
                </a:extLst>
              </a:tr>
              <a:tr h="10087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effectLst/>
                          <a:latin typeface="TW Cen MT"/>
                          <a:ea typeface="+mn-ea"/>
                          <a:cs typeface="+mn-cs"/>
                        </a:rPr>
                        <a:t>Expanding Opportunity Through Quality Charter Schools Program (CSP)--Grants to State Entities (State Entity Grants)</a:t>
                      </a:r>
                      <a:endParaRPr lang="en-US" sz="1600" b="1" i="0" u="none" strike="noStrike" kern="1200" noProof="0">
                        <a:solidFill>
                          <a:schemeClr val="tx2"/>
                        </a:solidFill>
                        <a:effectLst/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6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9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3562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98823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F2225BC-61B3-B804-1A9E-0279FDB0C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A73A0F7-C1E4-17B2-5FEE-BA9CB9D89468}"/>
              </a:ext>
            </a:extLst>
          </p:cNvPr>
          <p:cNvSpPr txBox="1">
            <a:spLocks/>
          </p:cNvSpPr>
          <p:nvPr/>
        </p:nvSpPr>
        <p:spPr>
          <a:xfrm>
            <a:off x="964788" y="804333"/>
            <a:ext cx="3391900" cy="52493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3A8EB1-8DDB-2D47-345B-C9E3F3F74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128" y="585216"/>
            <a:ext cx="10797758" cy="1499616"/>
          </a:xfrm>
        </p:spPr>
        <p:txBody>
          <a:bodyPr/>
          <a:lstStyle/>
          <a:p>
            <a:r>
              <a:rPr lang="en-US"/>
              <a:t>Other opportunities:</a:t>
            </a:r>
          </a:p>
        </p:txBody>
      </p:sp>
      <p:pic>
        <p:nvPicPr>
          <p:cNvPr id="2050" name="Picture 2" descr="Ocean Tech Hub | Driving the Blue ...">
            <a:extLst>
              <a:ext uri="{FF2B5EF4-FFF2-40B4-BE49-F238E27FC236}">
                <a16:creationId xmlns:a16="http://schemas.microsoft.com/office/drawing/2014/main" id="{24EE0811-4026-AB75-24A2-437A38395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615" y="2169084"/>
            <a:ext cx="1664155" cy="211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New ARPA-H Initiative Will Support ...">
            <a:extLst>
              <a:ext uri="{FF2B5EF4-FFF2-40B4-BE49-F238E27FC236}">
                <a16:creationId xmlns:a16="http://schemas.microsoft.com/office/drawing/2014/main" id="{A384D696-B46F-AD1A-DFDC-ECD4A6FCF2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4571" y="5256313"/>
            <a:ext cx="2492641" cy="688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olar Panel? Definition of Solar Panels">
            <a:extLst>
              <a:ext uri="{FF2B5EF4-FFF2-40B4-BE49-F238E27FC236}">
                <a16:creationId xmlns:a16="http://schemas.microsoft.com/office/drawing/2014/main" id="{85E82A9A-A1A0-BD93-E3E4-26C6BCED2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0896" y="2126149"/>
            <a:ext cx="2466975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46362EA-CC81-1679-7B2E-1D5A02B3915F}"/>
              </a:ext>
            </a:extLst>
          </p:cNvPr>
          <p:cNvSpPr txBox="1"/>
          <p:nvPr/>
        </p:nvSpPr>
        <p:spPr>
          <a:xfrm>
            <a:off x="8644840" y="4022690"/>
            <a:ext cx="2579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DIRECT PAY TAX CREDITS</a:t>
            </a:r>
          </a:p>
        </p:txBody>
      </p:sp>
      <p:pic>
        <p:nvPicPr>
          <p:cNvPr id="2056" name="Picture 8" descr="Advanced Research Projects Agency ...">
            <a:extLst>
              <a:ext uri="{FF2B5EF4-FFF2-40B4-BE49-F238E27FC236}">
                <a16:creationId xmlns:a16="http://schemas.microsoft.com/office/drawing/2014/main" id="{667D460F-37F5-B984-02C3-E5FC9A896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277" y="5002438"/>
            <a:ext cx="2557913" cy="1702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ancer Moonshot Blue Ribbon Panel ...">
            <a:extLst>
              <a:ext uri="{FF2B5EF4-FFF2-40B4-BE49-F238E27FC236}">
                <a16:creationId xmlns:a16="http://schemas.microsoft.com/office/drawing/2014/main" id="{35519CAB-85D0-FB7D-08AE-9F3E4A609B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0" y="4843493"/>
            <a:ext cx="3028950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Rep. John Mahoney on X: &quot;Today, the MA ...">
            <a:extLst>
              <a:ext uri="{FF2B5EF4-FFF2-40B4-BE49-F238E27FC236}">
                <a16:creationId xmlns:a16="http://schemas.microsoft.com/office/drawing/2014/main" id="{575B09C0-5FDF-96DB-C81F-2707E4C36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83" y="2084832"/>
            <a:ext cx="2281127" cy="2281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Northeast Microelectronics Coalition ...">
            <a:extLst>
              <a:ext uri="{FF2B5EF4-FFF2-40B4-BE49-F238E27FC236}">
                <a16:creationId xmlns:a16="http://schemas.microsoft.com/office/drawing/2014/main" id="{12D82676-0F11-D2A0-8BC7-2282DBD50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506" y="4960441"/>
            <a:ext cx="1963125" cy="113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Ocean Tech Hub | Driving the Blue ...">
            <a:extLst>
              <a:ext uri="{FF2B5EF4-FFF2-40B4-BE49-F238E27FC236}">
                <a16:creationId xmlns:a16="http://schemas.microsoft.com/office/drawing/2014/main" id="{F4826C9D-A37A-3221-A572-72BEC0D5CF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62" y="2126149"/>
            <a:ext cx="2352675" cy="194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5658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0" y="2819400"/>
            <a:ext cx="8839200" cy="158248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1009015" algn="l"/>
                <a:tab pos="1491615" algn="l"/>
                <a:tab pos="1621155" algn="l"/>
                <a:tab pos="2311400" algn="l"/>
                <a:tab pos="2915285" algn="l"/>
                <a:tab pos="3815079" algn="l"/>
                <a:tab pos="4108450" algn="l"/>
                <a:tab pos="5290820" algn="l"/>
              </a:tabLst>
            </a:pPr>
            <a:r>
              <a:rPr lang="en-US" sz="3400" i="0" spc="-10">
                <a:solidFill>
                  <a:srgbClr val="FFFFFF"/>
                </a:solidFill>
                <a:latin typeface="Poppins"/>
                <a:cs typeface="Poppins"/>
              </a:rPr>
              <a:t>MassDOT Municipal Grants </a:t>
            </a:r>
            <a:br>
              <a:rPr lang="en-US" sz="3400" b="0" i="0" spc="-10">
                <a:solidFill>
                  <a:srgbClr val="FFFFFF"/>
                </a:solidFill>
                <a:latin typeface="Poppins"/>
                <a:cs typeface="Poppins"/>
              </a:rPr>
            </a:br>
            <a:br>
              <a:rPr lang="en-US" sz="3400" b="0" i="0" spc="-10">
                <a:solidFill>
                  <a:srgbClr val="FFFFFF"/>
                </a:solidFill>
                <a:latin typeface="Poppins"/>
                <a:cs typeface="Poppins"/>
              </a:rPr>
            </a:br>
            <a:endParaRPr lang="en-US" sz="3400" b="0" i="0" noProof="0"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4" name="object 4" descr="Massachusetts Department of Transportation Logo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810240" y="5170697"/>
            <a:ext cx="2869097" cy="1205264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F74C6A8-D275-C9DF-9110-3D2A4386DA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2326" y="4060083"/>
            <a:ext cx="2256274" cy="16922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FD03CE-0619-B98F-6575-AAA77FF1F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/>
              <a:t>About the Municipal Grants Engagement (MGE) Group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37ADE-88E2-89B0-F8EB-06DB4CF64B48}"/>
              </a:ext>
            </a:extLst>
          </p:cNvPr>
          <p:cNvSpPr txBox="1"/>
          <p:nvPr/>
        </p:nvSpPr>
        <p:spPr>
          <a:xfrm>
            <a:off x="760919" y="1447800"/>
            <a:ext cx="57912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MassDOT’s Municipal Grants Engagement Group’s mission is t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onnect municipalities with federal funding opportunities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to advance local and regional transportation need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The group will als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rovide technical assistance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to Massachusetts communities, with a focus on rural areas and Gateway Cities, t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repare projects for the receipt of federal funding, develop discretionary grant applications, and assist with coordination efforts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across MassDOT, municipalities, and our partner agencies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625A83-3E74-A552-850A-B0E6A83FE5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2210504"/>
            <a:ext cx="2752197" cy="3669596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89CE190-E3EF-BEDD-7D1A-AF002E82DEB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1478604"/>
            <a:ext cx="3124200" cy="234315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030706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8D8B3-C3ED-A5AC-96D7-461C658112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08785-96DC-FE45-11CE-8983A9983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>
                <a:latin typeface="+mj-lt"/>
              </a:rPr>
              <a:t>Municipal Grants Engagement Group Resourc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0FCB4F8-F34B-57E0-18E0-99FCE4B04233}"/>
              </a:ext>
            </a:extLst>
          </p:cNvPr>
          <p:cNvSpPr txBox="1"/>
          <p:nvPr/>
        </p:nvSpPr>
        <p:spPr>
          <a:xfrm>
            <a:off x="914400" y="1201627"/>
            <a:ext cx="10744200" cy="5676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Eligibility Guidance / Program “Match Making:”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 Assisting municipalities in determining eligibility for federal discretionary and formula funding programs and appropriate funding alternativ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Times New Roman" panose="02020603050405020304" pitchFamily="18" charset="0"/>
              </a:rPr>
              <a:t>Project Scoping Assistance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roviding technical assistance for early-stage planning activities, including but not limited to: Conceptual Designs/Sketch Plans;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rash Diagrams &amp; Hot Spot Analysis; Road Safety Audits (RSAs); Traffic Impact Studies; Speed Studies; Existing Conditions &amp; Data Collection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.  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Times New Roman" panose="02020603050405020304" pitchFamily="18" charset="0"/>
              </a:rPr>
              <a:t>Grant Application Assistance (for Joint State and Municipal Priorities)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roviding technical assistance in drafting and reviewing grant applications, including project narratives, budgets, and responses to merit criteria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+mn-cs"/>
              </a:rPr>
              <a:t>Letters of Support: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+mn-cs"/>
              </a:rPr>
              <a:t>Drafting and issuing MassDOT letters of support for grant applications to demonstrate agency endorse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Times New Roman" panose="02020603050405020304" pitchFamily="18" charset="0"/>
              </a:rPr>
              <a:t>Match Funding Coordination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Advising on strategies to identify and secure local, state, or other match funding for federal grant applications. Coordinating with state funding programs to ensure alignment with grant application requirements.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ost-Award Support: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Helping municipalities manage awarded grants, including guidance on reporting, documentation, and financial oversight to ensure compliance with grant terms.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7881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F7422F06-6017-4361-8872-E0E2CEB20B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C586B0-AF86-A515-AEE0-C8269027D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43467"/>
            <a:ext cx="3415612" cy="5571066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Agenda</a:t>
            </a:r>
          </a:p>
        </p:txBody>
      </p:sp>
      <p:graphicFrame>
        <p:nvGraphicFramePr>
          <p:cNvPr id="4" name="Content Placeholder 2">
            <a:extLst>
              <a:ext uri="{FF2B5EF4-FFF2-40B4-BE49-F238E27FC236}">
                <a16:creationId xmlns:a16="http://schemas.microsoft.com/office/drawing/2014/main" id="{BCAF1A5D-AAF4-A5C2-F609-471FBC3134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1740474"/>
              </p:ext>
            </p:extLst>
          </p:nvPr>
        </p:nvGraphicFramePr>
        <p:xfrm>
          <a:off x="4991016" y="213632"/>
          <a:ext cx="7066273" cy="64381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80105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1757858" y="308199"/>
            <a:ext cx="6443670" cy="40005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 Grant Central</a:t>
            </a: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0F1C72-FC3C-F5A9-152F-5C7045471EAF}"/>
              </a:ext>
            </a:extLst>
          </p:cNvPr>
          <p:cNvSpPr txBox="1"/>
          <p:nvPr/>
        </p:nvSpPr>
        <p:spPr>
          <a:xfrm>
            <a:off x="533400" y="4987394"/>
            <a:ext cx="3272674" cy="43294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unding Program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4D97BB-902B-C2CF-3723-F3B26914F8AF}"/>
              </a:ext>
            </a:extLst>
          </p:cNvPr>
          <p:cNvSpPr txBox="1"/>
          <p:nvPr/>
        </p:nvSpPr>
        <p:spPr>
          <a:xfrm>
            <a:off x="533400" y="5502481"/>
            <a:ext cx="356687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apter 90 | Complete Streets | Local Bottleneck Reduction | Municipal Pavement | Municipal Small Bridge | Shared Streets and Spaces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B14A3B-EE5F-2690-7897-83FEC4B23F0D}"/>
              </a:ext>
            </a:extLst>
          </p:cNvPr>
          <p:cNvSpPr txBox="1"/>
          <p:nvPr/>
        </p:nvSpPr>
        <p:spPr>
          <a:xfrm>
            <a:off x="5928307" y="5443066"/>
            <a:ext cx="356687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he Public | Municipal Officials | Regional Transit Authorities | MassDOT Staff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C48627-8CF1-8159-B271-659EBDEFD7F6}"/>
              </a:ext>
            </a:extLst>
          </p:cNvPr>
          <p:cNvSpPr txBox="1"/>
          <p:nvPr/>
        </p:nvSpPr>
        <p:spPr>
          <a:xfrm>
            <a:off x="6075405" y="4987393"/>
            <a:ext cx="3272674" cy="43294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rant Central Us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989C8B-4F36-87C8-4599-5E70C62B45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2755" y="1659474"/>
            <a:ext cx="7199506" cy="34585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B1D150A-2697-9DAC-BB87-A0F4210A34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2278" y="5118012"/>
            <a:ext cx="1739288" cy="13799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F1B48F2-D255-BBE0-0463-2E720B4D684F}"/>
              </a:ext>
            </a:extLst>
          </p:cNvPr>
          <p:cNvSpPr txBox="1"/>
          <p:nvPr/>
        </p:nvSpPr>
        <p:spPr>
          <a:xfrm>
            <a:off x="6630953" y="6133422"/>
            <a:ext cx="2177142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>
                <a:solidFill>
                  <a:srgbClr val="1F497D"/>
                </a:solidFill>
                <a:latin typeface="Poppins"/>
              </a:rPr>
              <a:t>775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unique Municipal Users</a:t>
            </a:r>
          </a:p>
        </p:txBody>
      </p:sp>
    </p:spTree>
    <p:extLst>
      <p:ext uri="{BB962C8B-B14F-4D97-AF65-F5344CB8AC3E}">
        <p14:creationId xmlns:p14="http://schemas.microsoft.com/office/powerpoint/2010/main" val="2976025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group of text on a green and blue background&#10;&#10;Description automatically generated">
            <a:extLst>
              <a:ext uri="{FF2B5EF4-FFF2-40B4-BE49-F238E27FC236}">
                <a16:creationId xmlns:a16="http://schemas.microsoft.com/office/drawing/2014/main" id="{41E0D4D3-64AF-C4E8-E71B-860C607567B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t="10902" b="-1809"/>
          <a:stretch/>
        </p:blipFill>
        <p:spPr>
          <a:xfrm>
            <a:off x="293700" y="136524"/>
            <a:ext cx="11604599" cy="690592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D084B-D6CE-8549-975C-55C9DDBAB6C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8403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D6CB08D-A81D-25A4-89E5-3A303E5EA293}"/>
              </a:ext>
            </a:extLst>
          </p:cNvPr>
          <p:cNvSpPr txBox="1"/>
          <p:nvPr/>
        </p:nvSpPr>
        <p:spPr>
          <a:xfrm>
            <a:off x="4724400" y="1447800"/>
            <a:ext cx="5181600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he MassDOT Safe Routes to School (SRTS) Program organizes events all year round to promote safe biking, walking, and rolling among students 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lementary, middle, and high school. You can learn more about these ev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d how to participate by scanning the QR code.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AD94D1-9F0F-E33C-07C2-B48BE2579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447800"/>
            <a:ext cx="3429000" cy="51895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20A519-64CD-358E-EAFE-04D47AA120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7400" y="3810000"/>
            <a:ext cx="2047505" cy="19145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4DB2760-13B3-8BE7-1AEF-F40C5EE46A41}"/>
              </a:ext>
            </a:extLst>
          </p:cNvPr>
          <p:cNvSpPr txBox="1"/>
          <p:nvPr/>
        </p:nvSpPr>
        <p:spPr>
          <a:xfrm>
            <a:off x="609600" y="795891"/>
            <a:ext cx="10721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afe Routes to School (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hlinkClick r:id="rId4"/>
              </a:rPr>
              <a:t>https://www.mass.gov/safe-routes-to-school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4170789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914400" y="1439679"/>
            <a:ext cx="9906372" cy="4884921"/>
          </a:xfrm>
        </p:spPr>
        <p:txBody>
          <a:bodyPr vert="horz" wrap="square" lIns="91440" tIns="45720" rIns="91440" bIns="4572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Complete Streets</a:t>
            </a:r>
            <a:r>
              <a:rPr lang="en-US" sz="2000" b="0">
                <a:latin typeface="Poppins"/>
                <a:cs typeface="Poppins"/>
              </a:rPr>
              <a:t>: The latest Tier 3 application round closed on May 1, but we are always accepting Tier 1 and Tier 2 submissions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Shared Streets &amp; Spaces</a:t>
            </a:r>
            <a:r>
              <a:rPr lang="en-US" sz="2000" b="0">
                <a:latin typeface="Poppins"/>
                <a:cs typeface="Poppins"/>
              </a:rPr>
              <a:t>: We anticipate the results of the latest application round to be announced in June 2025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Municipal Small Bridge Program</a:t>
            </a:r>
            <a:r>
              <a:rPr lang="en-US" sz="2000" b="0">
                <a:latin typeface="Poppins"/>
                <a:cs typeface="Poppins"/>
              </a:rPr>
              <a:t>: The FY25 application round closed on Monday, February 3, 2025. We anticipate the results of this application round to be announced in late June 2025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Local Bottleneck Reduction Program</a:t>
            </a:r>
            <a:r>
              <a:rPr lang="en-US" sz="2000" b="0">
                <a:latin typeface="Poppins"/>
                <a:cs typeface="Poppins"/>
              </a:rPr>
              <a:t>: Next application round is expected in August of 2025.</a:t>
            </a: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Safe Routes to School Signs &amp; Lines and Infrastructure Grants</a:t>
            </a:r>
            <a:r>
              <a:rPr lang="en-US" sz="2000" b="0">
                <a:latin typeface="Poppins"/>
                <a:cs typeface="Poppins"/>
              </a:rPr>
              <a:t>: Launching in late August or early September 2025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0" indent="-34290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D084B-D6CE-8549-975C-55C9DDBAB6C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34453" y="715174"/>
            <a:ext cx="8741228" cy="692754"/>
          </a:xfrm>
        </p:spPr>
        <p:txBody>
          <a:bodyPr>
            <a:normAutofit/>
          </a:bodyPr>
          <a:lstStyle/>
          <a:p>
            <a:r>
              <a:rPr lang="en-US" b="1">
                <a:latin typeface="Poppins" panose="00000500000000000000" pitchFamily="2" charset="0"/>
                <a:cs typeface="Poppins" panose="00000500000000000000" pitchFamily="2" charset="0"/>
              </a:rPr>
              <a:t>Key Dates</a:t>
            </a:r>
          </a:p>
        </p:txBody>
      </p:sp>
    </p:spTree>
    <p:extLst>
      <p:ext uri="{BB962C8B-B14F-4D97-AF65-F5344CB8AC3E}">
        <p14:creationId xmlns:p14="http://schemas.microsoft.com/office/powerpoint/2010/main" val="40261005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8DBDA-F33E-29FC-D45A-E67BC60DE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10FD9-022E-9C1D-88B8-9765012D3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/>
              <a:t>Resources and Contact Inform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8BA1D3-0E65-3BC6-D91C-CB5234571135}"/>
              </a:ext>
            </a:extLst>
          </p:cNvPr>
          <p:cNvSpPr txBox="1"/>
          <p:nvPr/>
        </p:nvSpPr>
        <p:spPr>
          <a:xfrm>
            <a:off x="685800" y="1524000"/>
            <a:ext cx="11049000" cy="40857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Derek Krevat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  <a:hlinkClick r:id="rId3"/>
              </a:rPr>
              <a:t>Derek.Krevat@dot.state.ma.us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</a:rPr>
              <a:t>Kristen (Pennucci) Rebelo: 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  <a:hlinkClick r:id="rId4"/>
              </a:rPr>
              <a:t>Kristen.E.Rebelo@DOT.state.ma.u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+mn-ea"/>
              <a:cs typeface="Poppins" panose="00000500000000000000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</a:rPr>
              <a:t>Grant Central: 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  <a:hlinkClick r:id="rId5"/>
              </a:rPr>
              <a:t>MassDOTGrantCenral@DOT.state.ma.u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U.S. DOT Navigator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https://www.transportation.gov/dot-navigator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Grants.gov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7"/>
              </a:rPr>
              <a:t>https://www.grants.gov/search-grants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MA Federal Funds &amp; Infrastructure Office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8"/>
              </a:rPr>
              <a:t>https://www.mass.gov/orgs/federal-funds-infrastructure-office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2611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160736A-B9CE-C4DB-18B3-5554C8678C21}"/>
              </a:ext>
            </a:extLst>
          </p:cNvPr>
          <p:cNvSpPr/>
          <p:nvPr/>
        </p:nvSpPr>
        <p:spPr>
          <a:xfrm>
            <a:off x="1112345" y="1290319"/>
            <a:ext cx="7114101" cy="4605983"/>
          </a:xfrm>
          <a:prstGeom prst="rect">
            <a:avLst/>
          </a:prstGeom>
          <a:solidFill>
            <a:srgbClr val="00558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C1E870C5-37B9-F0CB-E8F5-BCA57428FB08}"/>
              </a:ext>
            </a:extLst>
          </p:cNvPr>
          <p:cNvSpPr txBox="1">
            <a:spLocks/>
          </p:cNvSpPr>
          <p:nvPr/>
        </p:nvSpPr>
        <p:spPr>
          <a:xfrm>
            <a:off x="2065895" y="2533644"/>
            <a:ext cx="5207000" cy="122802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rect Pay Overview</a:t>
            </a:r>
            <a:b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b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June </a:t>
            </a:r>
            <a:r>
              <a:rPr lang="en-IN" sz="1800" b="0">
                <a:solidFill>
                  <a:prstClr val="white"/>
                </a:solidFill>
                <a:latin typeface="Calibri"/>
                <a:ea typeface="Calibri"/>
                <a:cs typeface="Arial"/>
              </a:rPr>
              <a:t>4</a:t>
            </a: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, 2025</a:t>
            </a:r>
            <a:endParaRPr kumimoji="0" lang="en-IN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CDE945-1DA0-6630-7C4F-15E24482E953}"/>
              </a:ext>
            </a:extLst>
          </p:cNvPr>
          <p:cNvSpPr txBox="1"/>
          <p:nvPr/>
        </p:nvSpPr>
        <p:spPr>
          <a:xfrm>
            <a:off x="1388313" y="4182655"/>
            <a:ext cx="6838133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b LaRocca, Deputy Director, Federal Funds and Infrastructure Offic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696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8162" y="1261425"/>
            <a:ext cx="11115675" cy="4739786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  <a:defRPr/>
            </a:pPr>
            <a:r>
              <a:rPr lang="en-US" sz="2600">
                <a:solidFill>
                  <a:srgbClr val="002060"/>
                </a:solidFill>
                <a:cs typeface="Calibri"/>
              </a:rPr>
              <a:t>The Inflation Reduction Act (IRA) makes the largest investment in clean energy in United States history, and much of that investment is delivered via tax incentive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  <a:defRPr/>
            </a:pPr>
            <a:r>
              <a:rPr lang="en-US" sz="2600">
                <a:solidFill>
                  <a:srgbClr val="002060"/>
                </a:solidFill>
                <a:cs typeface="Calibri"/>
              </a:rPr>
              <a:t>Under the IRA, tax-exempt and governmental entities – such as cities and towns -- that do not owe Federal income taxes are, for the first time, able to receive a payment equal to the full value of tax credits for building qualifying clean energy projects or making qualifying investments. This is called Direct Pay (also known as Elective Pay). 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By filing a return and using Direct Pay, these entities can receive a cash refund from the IRS for certain clean energy project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Direct pay applies to projects put into service January 1, 2023 through December 31, 2032, creating a decade of tax opportunity to save money on necessary infrastructure replacements and upgrades while reducing energy costs and carbon emission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 b="1">
                <a:solidFill>
                  <a:srgbClr val="002060"/>
                </a:solidFill>
                <a:cs typeface="Calibri"/>
              </a:rPr>
              <a:t>Unlike competitive grant programs, the overall potential of these tax credits to states and municipalities is unlimited. 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Note on these credits being “mandatory, not discretionary”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endParaRPr lang="en-US" sz="24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What</a:t>
            </a: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/>
                <a:sym typeface="+mj-lt"/>
              </a:rPr>
              <a:t> is Direct Pay?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76105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28E31F-A065-C958-0FE8-7169EE818C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cs typeface="Calibri"/>
              </a:rPr>
              <a:t>v</a:t>
            </a:r>
            <a:endParaRPr lang="en-US"/>
          </a:p>
        </p:txBody>
      </p:sp>
      <p:pic>
        <p:nvPicPr>
          <p:cNvPr id="7" name="Content Placeholder 5" descr="Diagram&#10;&#10;Description automatically generated">
            <a:extLst>
              <a:ext uri="{FF2B5EF4-FFF2-40B4-BE49-F238E27FC236}">
                <a16:creationId xmlns:a16="http://schemas.microsoft.com/office/drawing/2014/main" id="{145E7DFB-5FE9-F4C5-8E0C-4FA7AE2D44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923685"/>
            <a:ext cx="11176000" cy="4183793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1838C6B1-409E-E938-8798-07F41F13D76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Most relevant tax credits for Massachusett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10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569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8032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Some Basics on Bonuse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Please Note: Additional details apply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94CD1697-9F62-9CEF-36AE-D0BE6B767640}"/>
              </a:ext>
            </a:extLst>
          </p:cNvPr>
          <p:cNvGraphicFramePr/>
          <p:nvPr/>
        </p:nvGraphicFramePr>
        <p:xfrm>
          <a:off x="994901" y="1296254"/>
          <a:ext cx="10202197" cy="4639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6DB4F0D-08A6-577B-7B72-E204EDDCC24E}"/>
              </a:ext>
            </a:extLst>
          </p:cNvPr>
          <p:cNvSpPr txBox="1"/>
          <p:nvPr/>
        </p:nvSpPr>
        <p:spPr>
          <a:xfrm>
            <a:off x="479759" y="6100862"/>
            <a:ext cx="10952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- On December,28, 2023, IRS issued new guidance on this rule for projects beginning in 2024 (see Notice 2024-9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FEAC6A-DCB7-23F7-C292-1AF8CC8AE542}"/>
              </a:ext>
            </a:extLst>
          </p:cNvPr>
          <p:cNvSpPr txBox="1"/>
          <p:nvPr/>
        </p:nvSpPr>
        <p:spPr>
          <a:xfrm>
            <a:off x="479759" y="6470194"/>
            <a:ext cx="10952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- Applicable for projects of a size &gt;1MW</a:t>
            </a:r>
          </a:p>
        </p:txBody>
      </p:sp>
    </p:spTree>
    <p:extLst>
      <p:ext uri="{BB962C8B-B14F-4D97-AF65-F5344CB8AC3E}">
        <p14:creationId xmlns:p14="http://schemas.microsoft.com/office/powerpoint/2010/main" val="1084730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A64E9C5-56FA-FFFF-D52B-C238372BBC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52446" cy="436833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77682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How Direct Pay Credits and Bonuses Affect a $2M Project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10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1D9BCD-1796-0A92-8C74-C2CF0069AD79}"/>
              </a:ext>
            </a:extLst>
          </p:cNvPr>
          <p:cNvSpPr txBox="1"/>
          <p:nvPr/>
        </p:nvSpPr>
        <p:spPr>
          <a:xfrm>
            <a:off x="447675" y="1602021"/>
            <a:ext cx="3086100" cy="378565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municipality with brownfield status installs microgrid with solar and energy storag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gible for an ITC (Energy ITC, Sec. 48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 cost is $2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C8B8DD-AE06-8DF5-BABD-A68CA3F43ADC}"/>
              </a:ext>
            </a:extLst>
          </p:cNvPr>
          <p:cNvSpPr txBox="1"/>
          <p:nvPr/>
        </p:nvSpPr>
        <p:spPr>
          <a:xfrm>
            <a:off x="6634064" y="5153805"/>
            <a:ext cx="1408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120,0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088A2E-C33C-40CE-2395-9C5588F49DCE}"/>
              </a:ext>
            </a:extLst>
          </p:cNvPr>
          <p:cNvSpPr txBox="1"/>
          <p:nvPr/>
        </p:nvSpPr>
        <p:spPr>
          <a:xfrm>
            <a:off x="8866157" y="3198167"/>
            <a:ext cx="13534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600,000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CBF9771-7C61-AF77-CACB-BAACDC327D51}"/>
              </a:ext>
            </a:extLst>
          </p:cNvPr>
          <p:cNvGraphicFramePr/>
          <p:nvPr/>
        </p:nvGraphicFramePr>
        <p:xfrm>
          <a:off x="3710152" y="1282227"/>
          <a:ext cx="7031420" cy="5076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">
            <a:extLst>
              <a:ext uri="{FF2B5EF4-FFF2-40B4-BE49-F238E27FC236}">
                <a16:creationId xmlns:a16="http://schemas.microsoft.com/office/drawing/2014/main" id="{A09BC7EF-577F-FB51-BA55-628AD74067C8}"/>
              </a:ext>
            </a:extLst>
          </p:cNvPr>
          <p:cNvSpPr txBox="1"/>
          <p:nvPr/>
        </p:nvSpPr>
        <p:spPr>
          <a:xfrm>
            <a:off x="10108158" y="2266020"/>
            <a:ext cx="1888511" cy="1060894"/>
          </a:xfrm>
          <a:prstGeom prst="rect">
            <a:avLst/>
          </a:prstGeom>
          <a:solidFill>
            <a:schemeClr val="bg1"/>
          </a:solidFill>
          <a:ln>
            <a:solidFill>
              <a:srgbClr val="00558C"/>
            </a:solidFill>
          </a:ln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wn recoups 40% of project in tax credit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181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7422F06-6017-4361-8872-E0E2CEB20B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43467"/>
            <a:ext cx="3415612" cy="5571066"/>
          </a:xfrm>
        </p:spPr>
        <p:txBody>
          <a:bodyPr>
            <a:normAutofit/>
          </a:bodyPr>
          <a:lstStyle/>
          <a:p>
            <a:r>
              <a:rPr lang="en-US" sz="4800">
                <a:solidFill>
                  <a:srgbClr val="FFFFFF"/>
                </a:solidFill>
              </a:rPr>
              <a:t>About the Federal Funds and Infrastructure Office (FFIO)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2B637B5-D00B-A557-6589-7B39E41260D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1296162"/>
              </p:ext>
            </p:extLst>
          </p:nvPr>
        </p:nvGraphicFramePr>
        <p:xfrm>
          <a:off x="4837502" y="1245140"/>
          <a:ext cx="7243018" cy="54669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7BD17A5-BA15-A055-8A50-B87A35D919F0}"/>
              </a:ext>
            </a:extLst>
          </p:cNvPr>
          <p:cNvSpPr txBox="1"/>
          <p:nvPr/>
        </p:nvSpPr>
        <p:spPr>
          <a:xfrm>
            <a:off x="5068112" y="214009"/>
            <a:ext cx="67817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fficially created by Executive Order No. 624, and tasked with implementing a whole-of-government to compete for federal funding by:</a:t>
            </a:r>
          </a:p>
        </p:txBody>
      </p:sp>
    </p:spTree>
    <p:extLst>
      <p:ext uri="{BB962C8B-B14F-4D97-AF65-F5344CB8AC3E}">
        <p14:creationId xmlns:p14="http://schemas.microsoft.com/office/powerpoint/2010/main" val="38802365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734" y="1272311"/>
            <a:ext cx="11170103" cy="514255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1CADE4"/>
              </a:buClr>
              <a:buNone/>
              <a:defRPr/>
            </a:pPr>
            <a:endParaRPr lang="en-US" sz="2400">
              <a:ea typeface="+mn-lt"/>
              <a:cs typeface="+mn-lt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  <a:hlinkClick r:id="rId2"/>
              </a:rPr>
              <a:t>FFIO’s Direct Pay Information Page</a:t>
            </a:r>
            <a:endParaRPr lang="en-US" sz="2400">
              <a:ea typeface="+mn-lt"/>
              <a:cs typeface="+mn-lt"/>
              <a:hlinkClick r:id="" action="ppaction://noaction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  <a:hlinkClick r:id="" action="ppaction://noaction"/>
              </a:rPr>
              <a:t>Elect Pay Overview</a:t>
            </a:r>
            <a:r>
              <a:rPr lang="en-US" sz="2400">
                <a:ea typeface="+mn-lt"/>
                <a:cs typeface="+mn-lt"/>
              </a:rPr>
              <a:t> </a:t>
            </a:r>
          </a:p>
          <a:p>
            <a:pPr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P webinar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</a:rPr>
              <a:t> </a:t>
            </a:r>
            <a:r>
              <a:rPr lang="en-US" sz="2400">
                <a:ea typeface="+mn-lt"/>
                <a:cs typeface="+mn-lt"/>
              </a:rPr>
              <a:t>on Direct Pay</a:t>
            </a:r>
            <a:endParaRPr lang="en-US" sz="2400">
              <a:cs typeface="Calibri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</a:rPr>
              <a:t>Lawyers for Good Government 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ective Pay resources</a:t>
            </a:r>
            <a:r>
              <a:rPr lang="en-US" sz="2400">
                <a:ea typeface="+mn-lt"/>
                <a:cs typeface="+mn-lt"/>
              </a:rPr>
              <a:t>, including worksheets on: </a:t>
            </a:r>
            <a:endParaRPr lang="en-US" sz="2400">
              <a:cs typeface="Calibri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 Purchase</a:t>
            </a:r>
            <a:endParaRPr lang="en-US" sz="2400">
              <a:solidFill>
                <a:srgbClr val="0070C0"/>
              </a:solidFill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 Infrastructure</a:t>
            </a:r>
            <a:r>
              <a:rPr lang="en-US" sz="2400">
                <a:ea typeface="+mn-lt"/>
                <a:cs typeface="+mn-lt"/>
              </a:rPr>
              <a:t> </a:t>
            </a:r>
            <a:endParaRPr lang="en-US" sz="2400"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cking</a:t>
            </a:r>
            <a:r>
              <a:rPr lang="en-US" sz="2400">
                <a:ea typeface="+mn-lt"/>
                <a:cs typeface="+mn-lt"/>
              </a:rPr>
              <a:t> ITC and PTC projects</a:t>
            </a:r>
            <a:endParaRPr lang="en-US" sz="2400"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</a:t>
            </a:r>
            <a:r>
              <a:rPr lang="en-US" sz="2400">
                <a:ea typeface="+mn-lt"/>
                <a:cs typeface="+mn-lt"/>
              </a:rPr>
              <a:t> from a presentation to local governments (but provides overview of Direct Pay for all)</a:t>
            </a:r>
            <a:endParaRPr lang="en-US" sz="2400">
              <a:cs typeface="Calibri" panose="020F0502020204030204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</a:rPr>
              <a:t>IRS 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Tutorial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</a:rPr>
              <a:t> </a:t>
            </a:r>
            <a:r>
              <a:rPr lang="en-US" sz="2400">
                <a:ea typeface="+mn-lt"/>
                <a:cs typeface="+mn-lt"/>
              </a:rPr>
              <a:t>on pre-registration</a:t>
            </a:r>
            <a:endParaRPr lang="en-US" sz="2400">
              <a:cs typeface="Calibri"/>
            </a:endParaRPr>
          </a:p>
          <a:p>
            <a:pPr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RS Q&amp;A</a:t>
            </a:r>
            <a:endParaRPr lang="en-US" sz="2400">
              <a:solidFill>
                <a:srgbClr val="0070C0"/>
              </a:solidFill>
            </a:endParaRPr>
          </a:p>
          <a:p>
            <a:pPr marL="436245" lvl="1" indent="-4572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AutoNum type="arabicPeriod"/>
              <a:defRPr/>
            </a:pPr>
            <a:endParaRPr lang="en-US" sz="11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Helpful Resource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5420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0" y="0"/>
            <a:ext cx="8848082" cy="6858000"/>
            <a:chOff x="0" y="0"/>
            <a:chExt cx="3495539" cy="27093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495539" cy="2709333"/>
            </a:xfrm>
            <a:custGeom>
              <a:avLst/>
              <a:gdLst/>
              <a:ahLst/>
              <a:cxnLst/>
              <a:rect l="l" t="t" r="r" b="b"/>
              <a:pathLst>
                <a:path w="3495539" h="2709333">
                  <a:moveTo>
                    <a:pt x="0" y="0"/>
                  </a:moveTo>
                  <a:lnTo>
                    <a:pt x="3495539" y="0"/>
                  </a:lnTo>
                  <a:lnTo>
                    <a:pt x="3495539" y="2709333"/>
                  </a:lnTo>
                  <a:lnTo>
                    <a:pt x="0" y="2709333"/>
                  </a:lnTo>
                  <a:close/>
                </a:path>
              </a:pathLst>
            </a:custGeom>
            <a:solidFill>
              <a:srgbClr val="05659C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3495539" cy="274743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18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" name="Freeform 5"/>
          <p:cNvSpPr/>
          <p:nvPr/>
        </p:nvSpPr>
        <p:spPr>
          <a:xfrm>
            <a:off x="9381045" y="2300264"/>
            <a:ext cx="2257472" cy="2257472"/>
          </a:xfrm>
          <a:custGeom>
            <a:avLst/>
            <a:gdLst/>
            <a:ahLst/>
            <a:cxnLst/>
            <a:rect l="l" t="t" r="r" b="b"/>
            <a:pathLst>
              <a:path w="3386208" h="3386208">
                <a:moveTo>
                  <a:pt x="0" y="0"/>
                </a:moveTo>
                <a:lnTo>
                  <a:pt x="3386207" y="0"/>
                </a:lnTo>
                <a:lnTo>
                  <a:pt x="3386207" y="3386208"/>
                </a:lnTo>
                <a:lnTo>
                  <a:pt x="0" y="3386208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555366" y="602505"/>
            <a:ext cx="7737349" cy="18424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just" defTabSz="609630" rtl="0" eaLnBrk="1" fontAlgn="auto" latinLnBrk="0" hangingPunct="1">
              <a:lnSpc>
                <a:spcPts val="477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82" b="0" i="0" u="none" strike="noStrike" kern="1200" cap="none" spc="119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GrantWell: Simplifying Federal Grant Application Process With AI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555366" y="2703723"/>
            <a:ext cx="7737349" cy="4126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329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33" b="0" i="0" u="none" strike="noStrike" kern="1200" cap="none" spc="-17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AI4Impact x Federal Funds and Infrastructure Office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5079252" y="5768193"/>
            <a:ext cx="3454959" cy="785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r" defTabSz="609630" rtl="0" eaLnBrk="1" fontAlgn="auto" latinLnBrk="0" hangingPunct="1">
              <a:lnSpc>
                <a:spcPts val="308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77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Jai Surya Kode</a:t>
            </a:r>
          </a:p>
          <a:p>
            <a:pPr marL="0" marR="0" lvl="0" indent="0" algn="r" defTabSz="609630" rtl="0" eaLnBrk="1" fontAlgn="auto" latinLnBrk="0" hangingPunct="1">
              <a:lnSpc>
                <a:spcPts val="308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77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Anjith Prakash</a:t>
            </a:r>
          </a:p>
        </p:txBody>
      </p:sp>
      <p:sp>
        <p:nvSpPr>
          <p:cNvPr id="9" name="Freeform 9"/>
          <p:cNvSpPr/>
          <p:nvPr/>
        </p:nvSpPr>
        <p:spPr>
          <a:xfrm>
            <a:off x="180475" y="4955752"/>
            <a:ext cx="5148665" cy="1908513"/>
          </a:xfrm>
          <a:custGeom>
            <a:avLst/>
            <a:gdLst/>
            <a:ahLst/>
            <a:cxnLst/>
            <a:rect l="l" t="t" r="r" b="b"/>
            <a:pathLst>
              <a:path w="7722997" h="2862769">
                <a:moveTo>
                  <a:pt x="0" y="0"/>
                </a:moveTo>
                <a:lnTo>
                  <a:pt x="7722997" y="0"/>
                </a:lnTo>
                <a:lnTo>
                  <a:pt x="7722997" y="2862770"/>
                </a:lnTo>
                <a:lnTo>
                  <a:pt x="0" y="286277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928238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6427306" y="532945"/>
            <a:ext cx="1601565" cy="1601565"/>
            <a:chOff x="0" y="0"/>
            <a:chExt cx="6350000" cy="63500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4717790" y="4570635"/>
            <a:ext cx="3311081" cy="1527098"/>
            <a:chOff x="0" y="0"/>
            <a:chExt cx="13128008" cy="6054748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3128008" cy="6054748"/>
            </a:xfrm>
            <a:custGeom>
              <a:avLst/>
              <a:gdLst/>
              <a:ahLst/>
              <a:cxnLst/>
              <a:rect l="l" t="t" r="r" b="b"/>
              <a:pathLst>
                <a:path w="13128008" h="6054748">
                  <a:moveTo>
                    <a:pt x="10502406" y="6054748"/>
                  </a:moveTo>
                  <a:lnTo>
                    <a:pt x="2625602" y="6054748"/>
                  </a:lnTo>
                  <a:cubicBezTo>
                    <a:pt x="1176269" y="6054748"/>
                    <a:pt x="0" y="5512243"/>
                    <a:pt x="0" y="4843798"/>
                  </a:cubicBezTo>
                  <a:lnTo>
                    <a:pt x="0" y="1210950"/>
                  </a:lnTo>
                  <a:cubicBezTo>
                    <a:pt x="0" y="542505"/>
                    <a:pt x="1176269" y="0"/>
                    <a:pt x="2625602" y="0"/>
                  </a:cubicBezTo>
                  <a:lnTo>
                    <a:pt x="10502406" y="0"/>
                  </a:lnTo>
                  <a:cubicBezTo>
                    <a:pt x="11951739" y="0"/>
                    <a:pt x="13128008" y="542505"/>
                    <a:pt x="13128008" y="1210950"/>
                  </a:cubicBezTo>
                  <a:lnTo>
                    <a:pt x="13128008" y="4843798"/>
                  </a:lnTo>
                  <a:cubicBezTo>
                    <a:pt x="13128008" y="5512243"/>
                    <a:pt x="11951739" y="6054748"/>
                    <a:pt x="10502406" y="6054748"/>
                  </a:cubicBezTo>
                  <a:close/>
                </a:path>
              </a:pathLst>
            </a:custGeom>
            <a:blipFill>
              <a:blip r:embed="rId3"/>
              <a:stretch>
                <a:fillRect l="-45362" t="-10515" r="-53850" b="-42625"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717790" y="532945"/>
            <a:ext cx="1601565" cy="1601565"/>
            <a:chOff x="0" y="0"/>
            <a:chExt cx="6350000" cy="63500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4"/>
              <a:stretch>
                <a:fillRect l="-30853" t="-6587" r="-50223" b="-13910"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0" y="0"/>
            <a:ext cx="4203440" cy="6858000"/>
            <a:chOff x="0" y="0"/>
            <a:chExt cx="1660618" cy="2709333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660618" cy="2709333"/>
            </a:xfrm>
            <a:custGeom>
              <a:avLst/>
              <a:gdLst/>
              <a:ahLst/>
              <a:cxnLst/>
              <a:rect l="l" t="t" r="r" b="b"/>
              <a:pathLst>
                <a:path w="1660618" h="2709333">
                  <a:moveTo>
                    <a:pt x="0" y="0"/>
                  </a:moveTo>
                  <a:lnTo>
                    <a:pt x="1660618" y="0"/>
                  </a:lnTo>
                  <a:lnTo>
                    <a:pt x="1660618" y="2709333"/>
                  </a:lnTo>
                  <a:lnTo>
                    <a:pt x="0" y="2709333"/>
                  </a:lnTo>
                  <a:close/>
                </a:path>
              </a:pathLst>
            </a:custGeom>
            <a:solidFill>
              <a:srgbClr val="05659C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-38100"/>
              <a:ext cx="1660618" cy="274743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2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AutoShape 11"/>
          <p:cNvSpPr/>
          <p:nvPr/>
        </p:nvSpPr>
        <p:spPr>
          <a:xfrm flipV="1">
            <a:off x="685833" y="3858594"/>
            <a:ext cx="3051183" cy="6350"/>
          </a:xfrm>
          <a:prstGeom prst="line">
            <a:avLst/>
          </a:prstGeom>
          <a:ln w="47625" cap="flat">
            <a:solidFill>
              <a:srgbClr val="FEFEF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2" name="Group 12"/>
          <p:cNvGrpSpPr/>
          <p:nvPr/>
        </p:nvGrpSpPr>
        <p:grpSpPr>
          <a:xfrm>
            <a:off x="9117253" y="2678942"/>
            <a:ext cx="1601565" cy="1601565"/>
            <a:chOff x="0" y="0"/>
            <a:chExt cx="6350000" cy="63500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9072694" y="2650313"/>
            <a:ext cx="1658824" cy="1658824"/>
            <a:chOff x="0" y="0"/>
            <a:chExt cx="6350000" cy="6350000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5"/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6" name="TextBox 16"/>
          <p:cNvSpPr txBox="1"/>
          <p:nvPr/>
        </p:nvSpPr>
        <p:spPr>
          <a:xfrm>
            <a:off x="685800" y="3041650"/>
            <a:ext cx="3681980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About us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8288189" y="717139"/>
            <a:ext cx="3370603" cy="12094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We are student researchers from Northeastern University working on this project as part of AI4Impact program.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4645408" y="2710736"/>
            <a:ext cx="3455845" cy="12094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r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AI4Impact partners state agencies and Northeastern University to develop innovative, sustainable, and impactful AI-driven solutions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8430919" y="4717595"/>
            <a:ext cx="3370603" cy="9016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GrantWell is a free, public AI-enabled grant-writing tool designed to streamline the application process.</a:t>
            </a:r>
          </a:p>
        </p:txBody>
      </p:sp>
    </p:spTree>
    <p:extLst>
      <p:ext uri="{BB962C8B-B14F-4D97-AF65-F5344CB8AC3E}">
        <p14:creationId xmlns:p14="http://schemas.microsoft.com/office/powerpoint/2010/main" val="170442990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1711985" y="6475809"/>
            <a:ext cx="333828" cy="297911"/>
          </a:xfrm>
          <a:custGeom>
            <a:avLst/>
            <a:gdLst/>
            <a:ahLst/>
            <a:cxnLst/>
            <a:rect l="l" t="t" r="r" b="b"/>
            <a:pathLst>
              <a:path w="500742" h="446866">
                <a:moveTo>
                  <a:pt x="0" y="0"/>
                </a:moveTo>
                <a:lnTo>
                  <a:pt x="500742" y="0"/>
                </a:lnTo>
                <a:lnTo>
                  <a:pt x="500742" y="446866"/>
                </a:lnTo>
                <a:lnTo>
                  <a:pt x="0" y="446866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r="-168"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3" name="Picture 3" descr="Grantwell_Edited.mp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/>
          <a:stretch>
            <a:fillRect/>
          </a:stretch>
        </p:blipFill>
        <p:spPr>
          <a:xfrm>
            <a:off x="0" y="-19050"/>
            <a:ext cx="121920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video>
              <p:cMediaNode vol="100000">
                <p:cTn id="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262228" y="542363"/>
            <a:ext cx="9667546" cy="15388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59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 Pro Bold"/>
                <a:ea typeface="Georgia Pro Bold"/>
                <a:cs typeface="Georgia Pro Bold"/>
                <a:sym typeface="Georgia Pro Bold"/>
              </a:rPr>
              <a:t>We would like to hear from you!</a:t>
            </a:r>
          </a:p>
        </p:txBody>
      </p:sp>
      <p:sp>
        <p:nvSpPr>
          <p:cNvPr id="3" name="AutoShape 3"/>
          <p:cNvSpPr/>
          <p:nvPr/>
        </p:nvSpPr>
        <p:spPr>
          <a:xfrm>
            <a:off x="1500125" y="2442203"/>
            <a:ext cx="9667546" cy="0"/>
          </a:xfrm>
          <a:prstGeom prst="line">
            <a:avLst/>
          </a:prstGeom>
          <a:ln w="76200" cap="flat">
            <a:solidFill>
              <a:srgbClr val="05659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8519869" y="3638163"/>
            <a:ext cx="2855077" cy="15009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hat tools do you use to assist in grant writing?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836964" y="3714610"/>
            <a:ext cx="3145805" cy="9879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Do you want to help us build GrantWell?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4636017" y="3387338"/>
            <a:ext cx="3035551" cy="20138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hat challenges do you face when applying for federal grants?</a:t>
            </a:r>
          </a:p>
        </p:txBody>
      </p:sp>
      <p:grpSp>
        <p:nvGrpSpPr>
          <p:cNvPr id="7" name="Group 7"/>
          <p:cNvGrpSpPr/>
          <p:nvPr/>
        </p:nvGrpSpPr>
        <p:grpSpPr>
          <a:xfrm>
            <a:off x="0" y="6364473"/>
            <a:ext cx="12192000" cy="605200"/>
            <a:chOff x="0" y="0"/>
            <a:chExt cx="24384000" cy="12104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4384000" cy="1210437"/>
            </a:xfrm>
            <a:custGeom>
              <a:avLst/>
              <a:gdLst/>
              <a:ahLst/>
              <a:cxnLst/>
              <a:rect l="l" t="t" r="r" b="b"/>
              <a:pathLst>
                <a:path w="24384000" h="1210437">
                  <a:moveTo>
                    <a:pt x="0" y="0"/>
                  </a:moveTo>
                  <a:lnTo>
                    <a:pt x="24384000" y="0"/>
                  </a:lnTo>
                  <a:lnTo>
                    <a:pt x="24384000" y="1210437"/>
                  </a:lnTo>
                  <a:lnTo>
                    <a:pt x="0" y="1210437"/>
                  </a:lnTo>
                  <a:close/>
                </a:path>
              </a:pathLst>
            </a:custGeom>
            <a:solidFill>
              <a:srgbClr val="1D1D1D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167534" y="6498316"/>
            <a:ext cx="4468483" cy="2041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16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Jai Surya Kode | Anjith Prakash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9740132" y="6562297"/>
            <a:ext cx="1863196" cy="1492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119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ww.burnes.northeastern.edu</a:t>
            </a:r>
          </a:p>
        </p:txBody>
      </p:sp>
      <p:sp>
        <p:nvSpPr>
          <p:cNvPr id="11" name="Freeform 11"/>
          <p:cNvSpPr/>
          <p:nvPr/>
        </p:nvSpPr>
        <p:spPr>
          <a:xfrm>
            <a:off x="11778421" y="6516091"/>
            <a:ext cx="222552" cy="198607"/>
          </a:xfrm>
          <a:custGeom>
            <a:avLst/>
            <a:gdLst/>
            <a:ahLst/>
            <a:cxnLst/>
            <a:rect l="l" t="t" r="r" b="b"/>
            <a:pathLst>
              <a:path w="333828" h="297911">
                <a:moveTo>
                  <a:pt x="0" y="0"/>
                </a:moveTo>
                <a:lnTo>
                  <a:pt x="333828" y="0"/>
                </a:lnTo>
                <a:lnTo>
                  <a:pt x="333828" y="297910"/>
                </a:lnTo>
                <a:lnTo>
                  <a:pt x="0" y="29791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168"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37294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7200"/>
              <a:t>Municipal needs survey</a:t>
            </a:r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7732" y="1871533"/>
            <a:ext cx="5900063" cy="3549708"/>
          </a:xfrm>
        </p:spPr>
        <p:txBody>
          <a:bodyPr>
            <a:normAutofit/>
          </a:bodyPr>
          <a:lstStyle/>
          <a:p>
            <a:r>
              <a:rPr lang="en-US" sz="2800" b="1"/>
              <a:t>Please take 5 minutes to fill out this form and help us learn more about how our office can support you to best leverage available and upcoming federal funding opportunities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7523544" y="1756063"/>
            <a:ext cx="4309230" cy="462158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82481FE-B35C-47F1-BD27-496FB57B0C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273" y="2208705"/>
            <a:ext cx="3831772" cy="38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3385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8800"/>
              <a:t>Discussion and </a:t>
            </a:r>
            <a:r>
              <a:rPr lang="en-US" sz="8800" err="1"/>
              <a:t>q&amp;a</a:t>
            </a:r>
            <a:r>
              <a:rPr lang="en-US" sz="8800"/>
              <a:t> </a:t>
            </a:r>
            <a:endParaRPr lang="en-US" sz="28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29284" y="1564495"/>
            <a:ext cx="4754880" cy="822960"/>
          </a:xfrm>
        </p:spPr>
        <p:txBody>
          <a:bodyPr/>
          <a:lstStyle/>
          <a:p>
            <a:r>
              <a:rPr lang="en-US"/>
              <a:t>As a reminder, we can help with: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BB1480-771C-44D3-2C18-C1AB8111855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/>
              <a:t>-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5D139B-4FAB-98CF-E152-E90B02C0E5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37626" y="1739617"/>
            <a:ext cx="3701144" cy="822960"/>
          </a:xfrm>
        </p:spPr>
        <p:txBody>
          <a:bodyPr/>
          <a:lstStyle/>
          <a:p>
            <a:r>
              <a:rPr lang="en-US"/>
              <a:t>Helpful information for us: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CB9C786-8D61-066C-8D9F-5A519C1F3E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37626" y="2387455"/>
            <a:ext cx="3760461" cy="3661612"/>
          </a:xfrm>
        </p:spPr>
        <p:txBody>
          <a:bodyPr>
            <a:normAutofit fontScale="92500" lnSpcReduction="20000"/>
          </a:bodyPr>
          <a:lstStyle/>
          <a:p>
            <a:r>
              <a:rPr lang="en-US"/>
              <a:t>-Are there any upcoming grants you are preparing for? Developing applications?</a:t>
            </a:r>
          </a:p>
          <a:p>
            <a:r>
              <a:rPr lang="en-US"/>
              <a:t>- What kind of technical assistance on these grants would be the most helpful for you?</a:t>
            </a:r>
          </a:p>
          <a:p>
            <a:r>
              <a:rPr lang="en-US"/>
              <a:t>- Do you have any applications pending or stuck?</a:t>
            </a:r>
          </a:p>
          <a:p>
            <a:r>
              <a:rPr lang="en-US"/>
              <a:t>-Are you looking for partners/co-applicants?</a:t>
            </a:r>
          </a:p>
          <a:p>
            <a:r>
              <a:rPr lang="en-US"/>
              <a:t>-Looking for gap financing for project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D17A5-BA15-A055-8A50-B87A35D919F0}"/>
              </a:ext>
            </a:extLst>
          </p:cNvPr>
          <p:cNvSpPr txBox="1"/>
          <p:nvPr/>
        </p:nvSpPr>
        <p:spPr>
          <a:xfrm>
            <a:off x="8137626" y="5637807"/>
            <a:ext cx="3347768" cy="795867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Tx/>
              <a:buNone/>
              <a:tabLst/>
              <a:defRPr/>
            </a:pPr>
            <a:r>
              <a:rPr lang="en-US" sz="1600" i="1">
                <a:solidFill>
                  <a:prstClr val="black"/>
                </a:solidFill>
                <a:latin typeface="Tw Cen MT" panose="020B0602020104020603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ch us anytime at: 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dFundsInfra@mass.gov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1EF08E1-A1B7-A191-8DB4-3C5797A00B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2936507"/>
              </p:ext>
            </p:extLst>
          </p:nvPr>
        </p:nvGraphicFramePr>
        <p:xfrm>
          <a:off x="1168182" y="2178570"/>
          <a:ext cx="6440932" cy="4255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8066315" y="1756065"/>
            <a:ext cx="3831772" cy="4553296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81659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F3788A7-E47C-B5CE-4257-1F649836DE48}"/>
              </a:ext>
            </a:extLst>
          </p:cNvPr>
          <p:cNvSpPr txBox="1"/>
          <p:nvPr/>
        </p:nvSpPr>
        <p:spPr>
          <a:xfrm>
            <a:off x="257140" y="296983"/>
            <a:ext cx="2980735" cy="267765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solidFill>
                  <a:srgbClr val="1CADE4"/>
                </a:solidFill>
              </a:rPr>
              <a:t>Please join us for our office hours, bring your questions, and discuss priority projects! </a:t>
            </a:r>
            <a:endParaRPr lang="en-US" sz="2800" b="1">
              <a:solidFill>
                <a:srgbClr val="1CADE4"/>
              </a:solidFill>
              <a:highlight>
                <a:srgbClr val="FFFF00"/>
              </a:highlight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34FC3F4-DAD6-738E-34C0-657016163671}"/>
              </a:ext>
            </a:extLst>
          </p:cNvPr>
          <p:cNvSpPr txBox="1">
            <a:spLocks/>
          </p:cNvSpPr>
          <p:nvPr/>
        </p:nvSpPr>
        <p:spPr>
          <a:xfrm>
            <a:off x="4144888" y="4431691"/>
            <a:ext cx="2877556" cy="2876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600">
                <a:solidFill>
                  <a:schemeClr val="tx1"/>
                </a:solidFill>
              </a:rPr>
              <a:t>Office hours</a:t>
            </a:r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8" name="Graphic 7" descr="Meeting outline">
            <a:extLst>
              <a:ext uri="{FF2B5EF4-FFF2-40B4-BE49-F238E27FC236}">
                <a16:creationId xmlns:a16="http://schemas.microsoft.com/office/drawing/2014/main" id="{CCCCF25A-2A8A-9F0F-E7CE-C6B19E6713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27641" y="772975"/>
            <a:ext cx="5312050" cy="531205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E3408A6-3D3D-C3C8-66DB-717F76F266B6}"/>
              </a:ext>
            </a:extLst>
          </p:cNvPr>
          <p:cNvSpPr txBox="1"/>
          <p:nvPr/>
        </p:nvSpPr>
        <p:spPr>
          <a:xfrm>
            <a:off x="9408872" y="660114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Transportation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pic>
        <p:nvPicPr>
          <p:cNvPr id="24" name="Graphic 23" descr="Dump truck outline">
            <a:extLst>
              <a:ext uri="{FF2B5EF4-FFF2-40B4-BE49-F238E27FC236}">
                <a16:creationId xmlns:a16="http://schemas.microsoft.com/office/drawing/2014/main" id="{0E40C948-516B-5A96-CB45-4B1E514CCC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05646" y="456995"/>
            <a:ext cx="914400" cy="9144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A8E3E83-0A13-9A08-9C7A-0BF7CF41FAD1}"/>
              </a:ext>
            </a:extLst>
          </p:cNvPr>
          <p:cNvSpPr txBox="1"/>
          <p:nvPr/>
        </p:nvSpPr>
        <p:spPr>
          <a:xfrm>
            <a:off x="9408872" y="1581725"/>
            <a:ext cx="229714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Climate and Resiliency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pic>
        <p:nvPicPr>
          <p:cNvPr id="26" name="Graphic 25" descr="Sustainability outline">
            <a:extLst>
              <a:ext uri="{FF2B5EF4-FFF2-40B4-BE49-F238E27FC236}">
                <a16:creationId xmlns:a16="http://schemas.microsoft.com/office/drawing/2014/main" id="{A5C7F27F-8EF8-15BC-BBCB-A51046B07B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0655" y="1601580"/>
            <a:ext cx="914399" cy="9143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98DE8B0-12D1-D134-F268-16B7F60CA029}"/>
              </a:ext>
            </a:extLst>
          </p:cNvPr>
          <p:cNvSpPr txBox="1"/>
          <p:nvPr/>
        </p:nvSpPr>
        <p:spPr>
          <a:xfrm>
            <a:off x="9408872" y="4577823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err="1">
                <a:solidFill>
                  <a:schemeClr val="accent2"/>
                </a:solidFill>
              </a:rPr>
              <a:t>GrantWell</a:t>
            </a:r>
            <a:endParaRPr lang="en-US" sz="2800" b="1">
              <a:solidFill>
                <a:schemeClr val="accent2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FFF345-756C-4593-9810-3C232BD81C18}"/>
              </a:ext>
            </a:extLst>
          </p:cNvPr>
          <p:cNvSpPr txBox="1"/>
          <p:nvPr/>
        </p:nvSpPr>
        <p:spPr>
          <a:xfrm>
            <a:off x="9408872" y="5681897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Priority Projects</a:t>
            </a:r>
          </a:p>
        </p:txBody>
      </p:sp>
      <p:pic>
        <p:nvPicPr>
          <p:cNvPr id="34" name="Graphic 33" descr="Blueprint with solid fill">
            <a:extLst>
              <a:ext uri="{FF2B5EF4-FFF2-40B4-BE49-F238E27FC236}">
                <a16:creationId xmlns:a16="http://schemas.microsoft.com/office/drawing/2014/main" id="{C1EC7EFC-965B-494A-88A8-0DE8164968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41246" y="5491370"/>
            <a:ext cx="863808" cy="863808"/>
          </a:xfrm>
          <a:prstGeom prst="rect">
            <a:avLst/>
          </a:prstGeom>
        </p:spPr>
      </p:pic>
      <p:pic>
        <p:nvPicPr>
          <p:cNvPr id="4" name="Graphic 3" descr="Tax outline">
            <a:extLst>
              <a:ext uri="{FF2B5EF4-FFF2-40B4-BE49-F238E27FC236}">
                <a16:creationId xmlns:a16="http://schemas.microsoft.com/office/drawing/2014/main" id="{A4DDE023-0104-BA9C-9A45-E6BA96480EA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41246" y="2974639"/>
            <a:ext cx="914400" cy="9144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331791A-D001-52DC-1AEE-E0BCCC4DFECA}"/>
              </a:ext>
            </a:extLst>
          </p:cNvPr>
          <p:cNvSpPr txBox="1"/>
          <p:nvPr/>
        </p:nvSpPr>
        <p:spPr>
          <a:xfrm>
            <a:off x="9408872" y="3159826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Direct Pay</a:t>
            </a:r>
          </a:p>
        </p:txBody>
      </p:sp>
      <p:pic>
        <p:nvPicPr>
          <p:cNvPr id="10" name="Graphic 9" descr="Programmer male outline">
            <a:extLst>
              <a:ext uri="{FF2B5EF4-FFF2-40B4-BE49-F238E27FC236}">
                <a16:creationId xmlns:a16="http://schemas.microsoft.com/office/drawing/2014/main" id="{D2C900EA-EC91-6530-683B-537C743085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41246" y="423300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4674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194971-2F2D-44B0-8AE6-FF2DCCEE0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1FF9A61E-EB11-4C46-82E1-3E00A3B4B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564EB3-35F2-4EFF-87DC-642DC0205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6A5AB136-1321-47B3-8AF9-A8140222B1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FB9A7-C8DD-7F1A-F23E-02E2D28F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Local Government Engagemen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29AB2E-91A6-4F11-8765-A410A013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884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FAB71-C6D9-69C6-15E1-74EEA1262B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0490" y="258416"/>
            <a:ext cx="7026223" cy="2151409"/>
          </a:xfrm>
          <a:prstGeom prst="roundRect">
            <a:avLst/>
          </a:prstGeom>
          <a:solidFill>
            <a:schemeClr val="accent6">
              <a:lumMod val="20000"/>
              <a:lumOff val="80000"/>
              <a:alpha val="35822"/>
            </a:schemeClr>
          </a:solidFill>
          <a:ln>
            <a:noFill/>
          </a:ln>
        </p:spPr>
        <p:txBody>
          <a:bodyPr vert="horz" lIns="45720" tIns="45720" rIns="45720" bIns="45720" rtlCol="0" anchor="ctr">
            <a:normAutofit/>
          </a:bodyPr>
          <a:lstStyle/>
          <a:p>
            <a:pPr marL="0" indent="0">
              <a:buNone/>
            </a:pPr>
            <a:r>
              <a:rPr lang="en-IN" sz="2000" b="1"/>
              <a:t>The Partnership provides key federal funding information to the local governments of MA. </a:t>
            </a:r>
          </a:p>
          <a:p>
            <a:pPr marL="0" indent="0">
              <a:buNone/>
            </a:pPr>
            <a:r>
              <a:rPr lang="en-IN" sz="1800"/>
              <a:t>FFIO leads the monthly Massachusetts Federal Funds Partnership meeting. This forum delivers federal funding updates and offers a platform for addressing questions related to the many funding opportunities at the disposal of cities, towns and tribal organizations.</a:t>
            </a:r>
            <a:endParaRPr lang="en-US" sz="18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ssachusetts Federal funds partnership</a:t>
            </a: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Engagement with RPAs &amp; </a:t>
            </a:r>
            <a:r>
              <a:rPr kumimoji="0" lang="en-US" sz="5000" b="0" i="0" u="none" strike="noStrike" kern="1200" cap="all" spc="10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TrIbes</a:t>
            </a: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99D162D-B2EC-B50A-919C-1363298DF8EA}"/>
              </a:ext>
            </a:extLst>
          </p:cNvPr>
          <p:cNvSpPr txBox="1">
            <a:spLocks/>
          </p:cNvSpPr>
          <p:nvPr/>
        </p:nvSpPr>
        <p:spPr>
          <a:xfrm>
            <a:off x="4940490" y="3023162"/>
            <a:ext cx="7015665" cy="3221500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 panose="020B0602020104020603" pitchFamily="34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Next Federal Funds Partnership Meeting Tuesday, June 24</a:t>
            </a:r>
            <a:r>
              <a:rPr kumimoji="0" lang="en-US" sz="22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h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</a:t>
            </a:r>
            <a:br>
              <a:rPr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W Cen MT"/>
              </a:rPr>
            </a:b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revious Monthly Meeting with MARPA + Federally Recognized Tribes Friday, May 2</a:t>
            </a:r>
            <a:r>
              <a:rPr kumimoji="0" lang="en-US" sz="22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nd</a:t>
            </a: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447675" marR="0" lvl="2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/>
              <a:buChar char="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ey federal funding updates 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</a:endParaRPr>
          </a:p>
          <a:p>
            <a:pPr marL="447675" lvl="2" indent="-285750">
              <a:buClr>
                <a:srgbClr val="1CADE4"/>
              </a:buClr>
              <a:buFont typeface="Wingdings 3"/>
              <a:buChar char=""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Working with </a:t>
            </a:r>
            <a:r>
              <a:rPr lang="en-US" sz="1800">
                <a:solidFill>
                  <a:prstClr val="black"/>
                </a:solidFill>
                <a:latin typeface="TW Cen MT"/>
              </a:rPr>
              <a:t>RPAs an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agencies to identify technical assistance gaps and priority project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90805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 panose="020B0602020104020603" pitchFamily="34" charset="0"/>
              <a:buChar char=" "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 panose="020B0602020104020603" pitchFamily="34" charset="0"/>
              <a:buNone/>
              <a:tabLst/>
              <a:defRPr/>
            </a:pPr>
            <a:endParaRPr kumimoji="0" lang="en-US" sz="2400" b="1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9611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94B7C-A0BE-E8CD-C4B1-57C106494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EE4CD83-4347-437C-4EAA-0D3980B10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1411D7-9FF4-BC96-5DCD-F858B47656CE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Resources for federal grant awardees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9F8787-1F6B-A4D5-7D38-B2623612234F}"/>
              </a:ext>
            </a:extLst>
          </p:cNvPr>
          <p:cNvSpPr txBox="1"/>
          <p:nvPr/>
        </p:nvSpPr>
        <p:spPr>
          <a:xfrm>
            <a:off x="5068112" y="214009"/>
            <a:ext cx="6781798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Below are two external resources related to frozen or at-risk federal awards.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 Please note that this message does not constitute legal advice.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  We will stay in contact as we learn more about the availability of federal funds.  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ctr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62" name="Content Placeholder 61">
            <a:extLst>
              <a:ext uri="{FF2B5EF4-FFF2-40B4-BE49-F238E27FC236}">
                <a16:creationId xmlns:a16="http://schemas.microsoft.com/office/drawing/2014/main" id="{16A07CF2-25B0-76CB-8B9C-966E7C4EBD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6506" y="1970691"/>
            <a:ext cx="6501281" cy="4246705"/>
          </a:xfrm>
        </p:spPr>
        <p:txBody>
          <a:bodyPr vert="horz" lIns="45720" tIns="45720" rIns="45720" bIns="45720" rtlCol="0" anchor="t">
            <a:normAutofit/>
          </a:bodyPr>
          <a:lstStyle/>
          <a:p>
            <a:pPr>
              <a:buFont typeface="Arial" panose="020B0602020104020603" pitchFamily="34" charset="0"/>
              <a:buChar char="•"/>
            </a:pPr>
            <a:r>
              <a:rPr lang="en-US">
                <a:latin typeface="TW Cen MT"/>
                <a:ea typeface="Calibri"/>
                <a:cs typeface="Calibri"/>
                <a:hlinkClick r:id="rId2"/>
              </a:rPr>
              <a:t>Lawyers for Good Government (L4GG</a:t>
            </a:r>
            <a:r>
              <a:rPr lang="en-US">
                <a:latin typeface="TW Cen MT"/>
                <a:ea typeface="Calibri"/>
                <a:cs typeface="Calibri"/>
              </a:rPr>
              <a:t>), who are running a Fund Protection Clinic to support grantees and sub-awardees of federal programs facing threats to their funding. The intake form for the clinic is </a:t>
            </a:r>
            <a:r>
              <a:rPr lang="en-US">
                <a:latin typeface="TW Cen MT"/>
                <a:ea typeface="Calibri"/>
                <a:cs typeface="Calibri"/>
                <a:hlinkClick r:id="rId3"/>
              </a:rPr>
              <a:t>here</a:t>
            </a:r>
            <a:r>
              <a:rPr lang="en-US">
                <a:latin typeface="TW Cen MT"/>
                <a:ea typeface="Calibri"/>
                <a:cs typeface="Calibri"/>
              </a:rPr>
              <a:t>.</a:t>
            </a:r>
            <a:endParaRPr lang="en-US"/>
          </a:p>
          <a:p>
            <a:pPr>
              <a:buFont typeface="Arial" panose="020B0602020104020603" pitchFamily="34" charset="0"/>
              <a:buChar char="•"/>
            </a:pPr>
            <a:r>
              <a:rPr lang="en-US">
                <a:ea typeface="+mn-lt"/>
                <a:cs typeface="+mn-lt"/>
              </a:rPr>
              <a:t>The </a:t>
            </a:r>
            <a:r>
              <a:rPr lang="en-US">
                <a:ea typeface="+mn-lt"/>
                <a:cs typeface="+mn-lt"/>
                <a:hlinkClick r:id="rId4"/>
              </a:rPr>
              <a:t>Environmental Protection Network</a:t>
            </a:r>
            <a:r>
              <a:rPr lang="en-US">
                <a:ea typeface="+mn-lt"/>
                <a:cs typeface="+mn-lt"/>
              </a:rPr>
              <a:t>, which maintains a network of hundreds of former EPA staff and appointees and has been providing extensive technical assistance to grantees and sub-awardees. </a:t>
            </a:r>
            <a:r>
              <a:rPr lang="en-US">
                <a:ea typeface="+mn-lt"/>
                <a:cs typeface="+mn-lt"/>
                <a:hlinkClick r:id="rId5"/>
              </a:rPr>
              <a:t>This</a:t>
            </a:r>
            <a:r>
              <a:rPr lang="en-US">
                <a:ea typeface="+mn-lt"/>
                <a:cs typeface="+mn-lt"/>
              </a:rPr>
              <a:t> is the type of resource they are putting out and they are in close communication with many grantees and sub-awardees, including NGOs, municipalities, and Tribal governments. You can sign up for their email list </a:t>
            </a:r>
            <a:r>
              <a:rPr lang="en-US">
                <a:ea typeface="+mn-lt"/>
                <a:cs typeface="+mn-lt"/>
                <a:hlinkClick r:id="rId6"/>
              </a:rPr>
              <a:t>here</a:t>
            </a:r>
            <a:r>
              <a:rPr lang="en-US">
                <a:ea typeface="+mn-lt"/>
                <a:cs typeface="+mn-lt"/>
              </a:rPr>
              <a:t> - they are sending out frequent updates and resources.</a:t>
            </a:r>
            <a:endParaRPr lang="en-US">
              <a:latin typeface="TW Cen MT"/>
              <a:ea typeface="Calibri"/>
              <a:cs typeface="Calibri"/>
            </a:endParaRPr>
          </a:p>
          <a:p>
            <a:endParaRPr lang="en-US">
              <a:latin typeface="TW Cen MT"/>
              <a:ea typeface="Calibri"/>
              <a:cs typeface="Calibri"/>
            </a:endParaRPr>
          </a:p>
          <a:p>
            <a:endParaRPr lang="en-US">
              <a:latin typeface="TW Cen MT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42494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1024128" y="585216"/>
            <a:ext cx="80182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FFIO Community Tou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FAB71-C6D9-69C6-15E1-74EEA1262BB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97548" y="1566852"/>
            <a:ext cx="6062955" cy="4022725"/>
          </a:xfrm>
        </p:spPr>
        <p:txBody>
          <a:bodyPr vert="horz" lIns="45720" tIns="45720" rIns="45720" bIns="45720" rtlCol="0" anchor="t">
            <a:normAutofit/>
          </a:bodyPr>
          <a:lstStyle/>
          <a:p>
            <a:pPr marL="342900" lvl="1" indent="-342900"/>
            <a:endParaRPr lang="en-US" sz="2400" b="1"/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INFORMATION SHARING</a:t>
            </a:r>
            <a:r>
              <a:rPr lang="en-US" sz="1800"/>
              <a:t>: Provide information on federal grant application resources made available by the new legislation </a:t>
            </a:r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UNDERSTAND NEEDS AND PRIORITIES</a:t>
            </a:r>
            <a:r>
              <a:rPr lang="en-US" sz="1800" b="1"/>
              <a:t>: </a:t>
            </a:r>
            <a:r>
              <a:rPr lang="en-US" sz="1800"/>
              <a:t>Seek community input on priority projects seeking federal funding</a:t>
            </a:r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GATHER FEEDBACK</a:t>
            </a:r>
            <a:r>
              <a:rPr lang="en-US" sz="1800"/>
              <a:t>: Solicit feedback on the Federal Funds Partnership and other FFIO processes</a:t>
            </a:r>
          </a:p>
          <a:p>
            <a:pPr marL="182880" lvl="2" indent="0">
              <a:buNone/>
            </a:pPr>
            <a:endParaRPr lang="en-US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E2242C-82E8-D3DC-02DB-C1379B48FA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1994" y="1024"/>
            <a:ext cx="5296601" cy="6856441"/>
          </a:xfrm>
          <a:prstGeom prst="rect">
            <a:avLst/>
          </a:prstGeom>
        </p:spPr>
      </p:pic>
      <p:pic>
        <p:nvPicPr>
          <p:cNvPr id="15" name="Graphic 14" descr="Marker outline">
            <a:extLst>
              <a:ext uri="{FF2B5EF4-FFF2-40B4-BE49-F238E27FC236}">
                <a16:creationId xmlns:a16="http://schemas.microsoft.com/office/drawing/2014/main" id="{D6F6D2DC-A141-97FA-86B7-BC9C355ACC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599175">
            <a:off x="138220" y="3299616"/>
            <a:ext cx="706120" cy="706120"/>
          </a:xfrm>
          <a:prstGeom prst="rect">
            <a:avLst/>
          </a:prstGeom>
        </p:spPr>
      </p:pic>
      <p:cxnSp>
        <p:nvCxnSpPr>
          <p:cNvPr id="16" name="Connector: Curved 18">
            <a:extLst>
              <a:ext uri="{FF2B5EF4-FFF2-40B4-BE49-F238E27FC236}">
                <a16:creationId xmlns:a16="http://schemas.microsoft.com/office/drawing/2014/main" id="{598D7587-8673-9E9A-8327-9A0EA590F182}"/>
              </a:ext>
            </a:extLst>
          </p:cNvPr>
          <p:cNvCxnSpPr>
            <a:cxnSpLocks/>
          </p:cNvCxnSpPr>
          <p:nvPr/>
        </p:nvCxnSpPr>
        <p:spPr>
          <a:xfrm>
            <a:off x="46001" y="3890432"/>
            <a:ext cx="1709418" cy="882737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Connector: Curved 20">
            <a:extLst>
              <a:ext uri="{FF2B5EF4-FFF2-40B4-BE49-F238E27FC236}">
                <a16:creationId xmlns:a16="http://schemas.microsoft.com/office/drawing/2014/main" id="{6C61E914-8ED6-75FB-7E05-D33B707D9243}"/>
              </a:ext>
            </a:extLst>
          </p:cNvPr>
          <p:cNvCxnSpPr>
            <a:cxnSpLocks/>
          </p:cNvCxnSpPr>
          <p:nvPr/>
        </p:nvCxnSpPr>
        <p:spPr>
          <a:xfrm>
            <a:off x="1755319" y="4769630"/>
            <a:ext cx="1793836" cy="1203944"/>
          </a:xfrm>
          <a:prstGeom prst="curved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48B3901-F227-88C5-1D1A-F1E84F6CA2CA}"/>
              </a:ext>
            </a:extLst>
          </p:cNvPr>
          <p:cNvSpPr txBox="1"/>
          <p:nvPr/>
        </p:nvSpPr>
        <p:spPr>
          <a:xfrm>
            <a:off x="74855" y="4518851"/>
            <a:ext cx="1444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WORCEST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C32FC3-55A4-E3AA-754B-93D636BDA57C}"/>
              </a:ext>
            </a:extLst>
          </p:cNvPr>
          <p:cNvSpPr txBox="1"/>
          <p:nvPr/>
        </p:nvSpPr>
        <p:spPr>
          <a:xfrm>
            <a:off x="1235937" y="4794892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HAVERHIL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2" name="Connector: Curved 26">
            <a:extLst>
              <a:ext uri="{FF2B5EF4-FFF2-40B4-BE49-F238E27FC236}">
                <a16:creationId xmlns:a16="http://schemas.microsoft.com/office/drawing/2014/main" id="{16809AB9-1DB2-B4BD-C8E3-541BE5DE6DAB}"/>
              </a:ext>
            </a:extLst>
          </p:cNvPr>
          <p:cNvCxnSpPr>
            <a:cxnSpLocks/>
          </p:cNvCxnSpPr>
          <p:nvPr/>
        </p:nvCxnSpPr>
        <p:spPr>
          <a:xfrm flipV="1">
            <a:off x="3582474" y="5054997"/>
            <a:ext cx="1018115" cy="918577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F98E5EC-484A-62A9-5DE6-CE7D504A60E8}"/>
              </a:ext>
            </a:extLst>
          </p:cNvPr>
          <p:cNvCxnSpPr>
            <a:cxnSpLocks/>
          </p:cNvCxnSpPr>
          <p:nvPr/>
        </p:nvCxnSpPr>
        <p:spPr>
          <a:xfrm>
            <a:off x="6677355" y="6382346"/>
            <a:ext cx="20429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Connector: Curved 5">
            <a:extLst>
              <a:ext uri="{FF2B5EF4-FFF2-40B4-BE49-F238E27FC236}">
                <a16:creationId xmlns:a16="http://schemas.microsoft.com/office/drawing/2014/main" id="{8DF9F752-057A-E7CF-1039-AE6C1C6BADAB}"/>
              </a:ext>
            </a:extLst>
          </p:cNvPr>
          <p:cNvCxnSpPr>
            <a:cxnSpLocks/>
          </p:cNvCxnSpPr>
          <p:nvPr/>
        </p:nvCxnSpPr>
        <p:spPr>
          <a:xfrm rot="16200000" flipH="1">
            <a:off x="6149989" y="5876033"/>
            <a:ext cx="718376" cy="302649"/>
          </a:xfrm>
          <a:prstGeom prst="curvedConnector3">
            <a:avLst>
              <a:gd name="adj1" fmla="val 7571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34D20D0F-6FCF-BDE8-9715-EA5D7DCB6742}"/>
              </a:ext>
            </a:extLst>
          </p:cNvPr>
          <p:cNvSpPr txBox="1"/>
          <p:nvPr/>
        </p:nvSpPr>
        <p:spPr>
          <a:xfrm>
            <a:off x="1596622" y="5161930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ROCKTON</a:t>
            </a:r>
          </a:p>
        </p:txBody>
      </p:sp>
      <p:pic>
        <p:nvPicPr>
          <p:cNvPr id="32" name="Graphic 31" descr="Marker outline">
            <a:extLst>
              <a:ext uri="{FF2B5EF4-FFF2-40B4-BE49-F238E27FC236}">
                <a16:creationId xmlns:a16="http://schemas.microsoft.com/office/drawing/2014/main" id="{461E03C6-3418-4142-F0BE-8319D9A8FC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433817">
            <a:off x="798952" y="3905166"/>
            <a:ext cx="706120" cy="706120"/>
          </a:xfrm>
          <a:prstGeom prst="rect">
            <a:avLst/>
          </a:prstGeom>
        </p:spPr>
      </p:pic>
      <p:pic>
        <p:nvPicPr>
          <p:cNvPr id="33" name="Graphic 32" descr="Marker outline">
            <a:extLst>
              <a:ext uri="{FF2B5EF4-FFF2-40B4-BE49-F238E27FC236}">
                <a16:creationId xmlns:a16="http://schemas.microsoft.com/office/drawing/2014/main" id="{7A8BCF02-3215-3FF9-1768-74F3EAB5D1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19438" y="4132219"/>
            <a:ext cx="706120" cy="70612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45408371-3851-6DEC-FF02-1841D0A4600B}"/>
              </a:ext>
            </a:extLst>
          </p:cNvPr>
          <p:cNvSpPr txBox="1"/>
          <p:nvPr/>
        </p:nvSpPr>
        <p:spPr>
          <a:xfrm>
            <a:off x="2777322" y="5974982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PRINGFIEL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7FEAEA-740E-6548-30B4-6E689E767ED4}"/>
              </a:ext>
            </a:extLst>
          </p:cNvPr>
          <p:cNvSpPr txBox="1"/>
          <p:nvPr/>
        </p:nvSpPr>
        <p:spPr>
          <a:xfrm>
            <a:off x="-100491" y="4019933"/>
            <a:ext cx="12968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ITTSFIELD</a:t>
            </a:r>
          </a:p>
        </p:txBody>
      </p:sp>
      <p:pic>
        <p:nvPicPr>
          <p:cNvPr id="2" name="Graphic 1" descr="Marker outline">
            <a:extLst>
              <a:ext uri="{FF2B5EF4-FFF2-40B4-BE49-F238E27FC236}">
                <a16:creationId xmlns:a16="http://schemas.microsoft.com/office/drawing/2014/main" id="{8D4498DC-8481-1115-F6D5-D44A324B50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50567">
            <a:off x="2310180" y="4473568"/>
            <a:ext cx="706120" cy="7061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E1EECB5-E59E-617E-1A65-A11915846272}"/>
              </a:ext>
            </a:extLst>
          </p:cNvPr>
          <p:cNvSpPr txBox="1"/>
          <p:nvPr/>
        </p:nvSpPr>
        <p:spPr>
          <a:xfrm>
            <a:off x="2244374" y="5731707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OSTON</a:t>
            </a:r>
          </a:p>
        </p:txBody>
      </p:sp>
      <p:pic>
        <p:nvPicPr>
          <p:cNvPr id="8" name="Graphic 7" descr="Marker outline">
            <a:extLst>
              <a:ext uri="{FF2B5EF4-FFF2-40B4-BE49-F238E27FC236}">
                <a16:creationId xmlns:a16="http://schemas.microsoft.com/office/drawing/2014/main" id="{BD94A702-9E9D-E40F-2EF3-D4A2D18373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71012" y="5117355"/>
            <a:ext cx="706120" cy="706120"/>
          </a:xfrm>
          <a:prstGeom prst="rect">
            <a:avLst/>
          </a:prstGeom>
        </p:spPr>
      </p:pic>
      <p:cxnSp>
        <p:nvCxnSpPr>
          <p:cNvPr id="14" name="Connector: Curved 18">
            <a:extLst>
              <a:ext uri="{FF2B5EF4-FFF2-40B4-BE49-F238E27FC236}">
                <a16:creationId xmlns:a16="http://schemas.microsoft.com/office/drawing/2014/main" id="{402FC071-DD5E-A482-1B24-8AA3FAC84B1C}"/>
              </a:ext>
            </a:extLst>
          </p:cNvPr>
          <p:cNvCxnSpPr>
            <a:cxnSpLocks/>
          </p:cNvCxnSpPr>
          <p:nvPr/>
        </p:nvCxnSpPr>
        <p:spPr>
          <a:xfrm>
            <a:off x="4620473" y="5029166"/>
            <a:ext cx="1758573" cy="639003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94BEF636-093A-0EBC-A779-FD2FA9804C2B}"/>
              </a:ext>
            </a:extLst>
          </p:cNvPr>
          <p:cNvSpPr txBox="1"/>
          <p:nvPr/>
        </p:nvSpPr>
        <p:spPr>
          <a:xfrm>
            <a:off x="4162432" y="5109906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GLOUCESTER</a:t>
            </a:r>
          </a:p>
        </p:txBody>
      </p:sp>
      <p:pic>
        <p:nvPicPr>
          <p:cNvPr id="10" name="Graphic 9" descr="Marker outline">
            <a:extLst>
              <a:ext uri="{FF2B5EF4-FFF2-40B4-BE49-F238E27FC236}">
                <a16:creationId xmlns:a16="http://schemas.microsoft.com/office/drawing/2014/main" id="{B7128334-7D17-D176-A275-93A9805BD9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45559" y="5315818"/>
            <a:ext cx="706120" cy="70612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6093CB6C-310F-D849-07A2-50D5BD250F05}"/>
              </a:ext>
            </a:extLst>
          </p:cNvPr>
          <p:cNvSpPr txBox="1"/>
          <p:nvPr/>
        </p:nvSpPr>
        <p:spPr>
          <a:xfrm>
            <a:off x="4633668" y="5498977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Tw Cen MT" panose="020B0602020104020603"/>
              </a:rPr>
              <a:t>NEW BEDFOR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41" name="Graphic 40" descr="Marker outline">
            <a:extLst>
              <a:ext uri="{FF2B5EF4-FFF2-40B4-BE49-F238E27FC236}">
                <a16:creationId xmlns:a16="http://schemas.microsoft.com/office/drawing/2014/main" id="{80595976-BCAC-39EE-614B-F9C916A293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53160" y="4821858"/>
            <a:ext cx="706120" cy="706120"/>
          </a:xfrm>
          <a:prstGeom prst="rect">
            <a:avLst/>
          </a:prstGeom>
        </p:spPr>
      </p:pic>
      <p:pic>
        <p:nvPicPr>
          <p:cNvPr id="43" name="Graphic 42" descr="Marker outline">
            <a:extLst>
              <a:ext uri="{FF2B5EF4-FFF2-40B4-BE49-F238E27FC236}">
                <a16:creationId xmlns:a16="http://schemas.microsoft.com/office/drawing/2014/main" id="{2E3579F2-69E8-47CB-271C-8DEEC179D9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56332" y="5029166"/>
            <a:ext cx="706120" cy="70612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698477B-DC2F-C129-4DAF-A9B2B4CC9E65}"/>
              </a:ext>
            </a:extLst>
          </p:cNvPr>
          <p:cNvSpPr txBox="1"/>
          <p:nvPr/>
        </p:nvSpPr>
        <p:spPr>
          <a:xfrm>
            <a:off x="5539514" y="5797096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Tw Cen MT" panose="020B0602020104020603"/>
              </a:rPr>
              <a:t>BARNSTABL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Graphic 5" descr="Marker outline">
            <a:extLst>
              <a:ext uri="{FF2B5EF4-FFF2-40B4-BE49-F238E27FC236}">
                <a16:creationId xmlns:a16="http://schemas.microsoft.com/office/drawing/2014/main" id="{5E89BE6B-101D-FB0A-4F61-4C8FE0B0FE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27144" y="4392062"/>
            <a:ext cx="706120" cy="70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520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07F9AB2-349C-03F4-FEE1-7D30744692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23C29CE1-614F-8685-04FE-0C6213426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ADB627A5-C098-58C9-7569-1A5AC8AF31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9173BB5-8D65-AF38-334C-B9633F79C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8816B0C4-5684-A854-4A99-0BCA2A006F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77BB09-A5C4-6B9C-C2BA-6385B50BF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Federal Matching Funds Legisl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FDFA2E9-B1BE-77B7-B8D7-06E6F05596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3578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Custom 1">
      <a:dk1>
        <a:sysClr val="windowText" lastClr="000000"/>
      </a:dk1>
      <a:lt1>
        <a:sysClr val="window" lastClr="FFFFFF"/>
      </a:lt1>
      <a:dk2>
        <a:srgbClr val="1CADE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assDO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sDOT Theme" id="{8C841E2C-D113-4A07-8750-B878236504B5}" vid="{760B4F15-3A7B-4AEF-82C0-11FA9FAF662B}"/>
    </a:ext>
  </a:extLst>
</a:theme>
</file>

<file path=ppt/theme/theme4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d5013aa-fb15-41bb-bd6f-83b72aea7b34">
      <UserInfo>
        <DisplayName>Palfrey, Quentin (GOV)</DisplayName>
        <AccountId>14</AccountId>
        <AccountType/>
      </UserInfo>
      <UserInfo>
        <DisplayName>Groustra, Ben (A&amp;F)</DisplayName>
        <AccountId>12</AccountId>
        <AccountType/>
      </UserInfo>
      <UserInfo>
        <DisplayName>Brunelle, Roger (A&amp;F)</DisplayName>
        <AccountId>19</AccountId>
        <AccountType/>
      </UserInfo>
      <UserInfo>
        <DisplayName>Jauhar, Mehar (A&amp;F)</DisplayName>
        <AccountId>20</AccountId>
        <AccountType/>
      </UserInfo>
      <UserInfo>
        <DisplayName>Jeffrey, Sydney (A&amp;F)</DisplayName>
        <AccountId>25</AccountId>
        <AccountType/>
      </UserInfo>
      <UserInfo>
        <DisplayName>zzMartinez, Christina H  (A&amp;F)</DisplayName>
        <AccountId>26</AccountId>
        <AccountType/>
      </UserInfo>
      <UserInfo>
        <DisplayName>Fritz, Samuel B. (ANF)</DisplayName>
        <AccountId>27</AccountId>
        <AccountType/>
      </UserInfo>
      <UserInfo>
        <DisplayName>Leonarte Paredes, Micaela (A&amp;F)</DisplayName>
        <AccountId>116</AccountId>
        <AccountType/>
      </UserInfo>
      <UserInfo>
        <DisplayName>LaRocca, Robert E. (A&amp;F)</DisplayName>
        <AccountId>149</AccountId>
        <AccountType/>
      </UserInfo>
      <UserInfo>
        <DisplayName>O'Hanlon, Rory C.  (EOED)</DisplayName>
        <AccountId>205</AccountId>
        <AccountType/>
      </UserInfo>
      <UserInfo>
        <DisplayName>Schrag, Jonathan (GOV)</DisplayName>
        <AccountId>89</AccountId>
        <AccountType/>
      </UserInfo>
    </SharedWithUsers>
    <lcf76f155ced4ddcb4097134ff3c332f xmlns="bca20fd0-1d1f-44ac-8486-0fcbd3ca37a4">
      <Terms xmlns="http://schemas.microsoft.com/office/infopath/2007/PartnerControls"/>
    </lcf76f155ced4ddcb4097134ff3c332f>
    <TaxCatchAll xmlns="2d5013aa-fb15-41bb-bd6f-83b72aea7b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67D306CC2AB9439580D8D9E7721135" ma:contentTypeVersion="14" ma:contentTypeDescription="Create a new document." ma:contentTypeScope="" ma:versionID="3ebc0c2e3e562912fa27ee86ec372a89">
  <xsd:schema xmlns:xsd="http://www.w3.org/2001/XMLSchema" xmlns:xs="http://www.w3.org/2001/XMLSchema" xmlns:p="http://schemas.microsoft.com/office/2006/metadata/properties" xmlns:ns2="bca20fd0-1d1f-44ac-8486-0fcbd3ca37a4" xmlns:ns3="2d5013aa-fb15-41bb-bd6f-83b72aea7b34" targetNamespace="http://schemas.microsoft.com/office/2006/metadata/properties" ma:root="true" ma:fieldsID="be003f2b293049502281ee85cb697aa6" ns2:_="" ns3:_="">
    <xsd:import namespace="bca20fd0-1d1f-44ac-8486-0fcbd3ca37a4"/>
    <xsd:import namespace="2d5013aa-fb15-41bb-bd6f-83b72aea7b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a20fd0-1d1f-44ac-8486-0fcbd3ca3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013aa-fb15-41bb-bd6f-83b72aea7b3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97debb64-58ec-418c-bee6-31f5618343a5}" ma:internalName="TaxCatchAll" ma:showField="CatchAllData" ma:web="2d5013aa-fb15-41bb-bd6f-83b72aea7b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EFCB44-F934-48E1-839D-62E910D0DDA7}">
  <ds:schemaRefs>
    <ds:schemaRef ds:uri="http://schemas.microsoft.com/office/infopath/2007/PartnerControls"/>
    <ds:schemaRef ds:uri="http://purl.org/dc/elements/1.1/"/>
    <ds:schemaRef ds:uri="http://purl.org/dc/dcmitype/"/>
    <ds:schemaRef ds:uri="2d5013aa-fb15-41bb-bd6f-83b72aea7b34"/>
    <ds:schemaRef ds:uri="bca20fd0-1d1f-44ac-8486-0fcbd3ca37a4"/>
    <ds:schemaRef ds:uri="http://purl.org/dc/terms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398910C-D7E4-478E-9AFE-7450B1AAA437}">
  <ds:schemaRefs>
    <ds:schemaRef ds:uri="2d5013aa-fb15-41bb-bd6f-83b72aea7b34"/>
    <ds:schemaRef ds:uri="bca20fd0-1d1f-44ac-8486-0fcbd3ca3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D2BE746-F5D5-45BB-B1F3-AD790BE73D0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Words>3186</Words>
  <Application>Microsoft Office PowerPoint</Application>
  <PresentationFormat>Widescreen</PresentationFormat>
  <Paragraphs>456</Paragraphs>
  <Slides>47</Slides>
  <Notes>14</Notes>
  <HiddenSlides>0</HiddenSlides>
  <MMClips>1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74" baseType="lpstr">
      <vt:lpstr>Aptos</vt:lpstr>
      <vt:lpstr>Aptos Display</vt:lpstr>
      <vt:lpstr>Arial</vt:lpstr>
      <vt:lpstr>Calibri</vt:lpstr>
      <vt:lpstr>Calibri Light</vt:lpstr>
      <vt:lpstr>Canva Sans</vt:lpstr>
      <vt:lpstr>Canva Sans Bold</vt:lpstr>
      <vt:lpstr>DM Serif Display</vt:lpstr>
      <vt:lpstr>Georgia Pro Bold</vt:lpstr>
      <vt:lpstr>Goudy Old Style</vt:lpstr>
      <vt:lpstr>HelveticaNeueLT Std</vt:lpstr>
      <vt:lpstr>ITCErasStd-Demi</vt:lpstr>
      <vt:lpstr>Poppins</vt:lpstr>
      <vt:lpstr>Tahoma</vt:lpstr>
      <vt:lpstr>Times New Roman</vt:lpstr>
      <vt:lpstr>Tw Cen MT</vt:lpstr>
      <vt:lpstr>Tw Cen MT</vt:lpstr>
      <vt:lpstr>Tw Cen MT Condensed</vt:lpstr>
      <vt:lpstr>Wingdings</vt:lpstr>
      <vt:lpstr>Wingdings 3</vt:lpstr>
      <vt:lpstr>Integral</vt:lpstr>
      <vt:lpstr>1_Office Theme</vt:lpstr>
      <vt:lpstr>MassDOT Theme</vt:lpstr>
      <vt:lpstr>office theme</vt:lpstr>
      <vt:lpstr>3_Office Theme</vt:lpstr>
      <vt:lpstr>4_office theme</vt:lpstr>
      <vt:lpstr>think-cell Slide</vt:lpstr>
      <vt:lpstr>Federal funds &amp; infrastructure office community tour</vt:lpstr>
      <vt:lpstr>Municipal needs survey</vt:lpstr>
      <vt:lpstr>Agenda</vt:lpstr>
      <vt:lpstr>About the Federal Funds and Infrastructure Office (FFIO)</vt:lpstr>
      <vt:lpstr>Local Government Engagement</vt:lpstr>
      <vt:lpstr>PowerPoint Presentation</vt:lpstr>
      <vt:lpstr>PowerPoint Presentation</vt:lpstr>
      <vt:lpstr>PowerPoint Presentation</vt:lpstr>
      <vt:lpstr>Federal Matching Funds Legislation</vt:lpstr>
      <vt:lpstr>PowerPoint Presentation</vt:lpstr>
      <vt:lpstr>PowerPoint Presentation</vt:lpstr>
      <vt:lpstr>FFIo's work in New Bedford/Southeastern MAss</vt:lpstr>
      <vt:lpstr>Leonard’s Wharf </vt:lpstr>
      <vt:lpstr>Homer’s Wharf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w Federal Funding Opportunities</vt:lpstr>
      <vt:lpstr>PowerPoint Presentation</vt:lpstr>
      <vt:lpstr>PowerPoint Presentation</vt:lpstr>
      <vt:lpstr>PowerPoint Presentation</vt:lpstr>
      <vt:lpstr>PowerPoint Presentation</vt:lpstr>
      <vt:lpstr>Other opportunities:</vt:lpstr>
      <vt:lpstr>MassDOT Municipal Grants   </vt:lpstr>
      <vt:lpstr>About the Municipal Grants Engagement (MGE) Group </vt:lpstr>
      <vt:lpstr>Municipal Grants Engagement Group Resources</vt:lpstr>
      <vt:lpstr>PowerPoint Presentation</vt:lpstr>
      <vt:lpstr>PowerPoint Presentation</vt:lpstr>
      <vt:lpstr>PowerPoint Presentation</vt:lpstr>
      <vt:lpstr>Key Dates</vt:lpstr>
      <vt:lpstr>Resources and Contact Inform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unicipal needs survey</vt:lpstr>
      <vt:lpstr>Discussion and q&amp;a </vt:lpstr>
      <vt:lpstr>PowerPoint Presentation</vt:lpstr>
    </vt:vector>
  </TitlesOfParts>
  <Company>Commonwealth of Massachuse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deral Funds &amp; Infrastructure Task Force</dc:title>
  <dc:creator>Palfrey, Quentin (GOV)</dc:creator>
  <cp:lastModifiedBy>Fritz, Samuel B. (A&amp;F)</cp:lastModifiedBy>
  <cp:revision>1</cp:revision>
  <cp:lastPrinted>2024-10-16T17:09:59Z</cp:lastPrinted>
  <dcterms:created xsi:type="dcterms:W3CDTF">2023-03-29T20:35:22Z</dcterms:created>
  <dcterms:modified xsi:type="dcterms:W3CDTF">2025-06-06T17:1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67D306CC2AB9439580D8D9E7721135</vt:lpwstr>
  </property>
  <property fmtid="{D5CDD505-2E9C-101B-9397-08002B2CF9AE}" pid="3" name="MediaServiceImageTags">
    <vt:lpwstr/>
  </property>
</Properties>
</file>